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5"/>
  </p:notesMasterIdLst>
  <p:sldIdLst>
    <p:sldId id="256" r:id="rId3"/>
    <p:sldId id="271" r:id="rId4"/>
    <p:sldId id="272" r:id="rId5"/>
    <p:sldId id="273" r:id="rId6"/>
    <p:sldId id="274" r:id="rId7"/>
    <p:sldId id="279" r:id="rId8"/>
    <p:sldId id="276" r:id="rId9"/>
    <p:sldId id="280" r:id="rId10"/>
    <p:sldId id="259" r:id="rId11"/>
    <p:sldId id="956" r:id="rId12"/>
    <p:sldId id="501" r:id="rId13"/>
    <p:sldId id="283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0" d="100"/>
          <a:sy n="80" d="100"/>
        </p:scale>
        <p:origin x="1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ABBF6E-21F2-48D0-8FD6-4B8A6E0B98AD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A24585-281E-4CEC-BD64-6D0D190E22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0658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779A61-A56B-455B-A748-AB76FF6200F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81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89730" tIns="44865" rIns="89730" bIns="44865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7404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0250" y="1171575"/>
            <a:ext cx="5626100" cy="3163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</a:t>
            </a:r>
            <a:r>
              <a:rPr lang="en-US" baseline="0" dirty="0"/>
              <a:t>Slide Show mode, click the arrow to enter the PowerPoint Getting Started Cent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8601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8475B-A37D-4D88-B38F-1A0032FFCC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E10D40-B861-4820-93F1-2CB77A267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954A8F-6D7C-4505-928F-F50896B2F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B72304-E045-434D-B280-38A874648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B96CF9-DBBA-4E16-813D-0D5C50A82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9907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FBA0F1-8B6F-46E8-A28F-C1A3AE5125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2D7D3C-4C83-44D2-8C8E-E93738DEC2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E655C1-FED5-4855-9F53-8C72B0241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858C2F-2F0A-445F-AEA2-748032077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EADEC-8808-461D-A207-5944DB839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5915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6080E8-0DE8-48A4-ADD6-32270A07C6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E0DA2B-5EED-49B5-A0C2-F402FA72A6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BAB9C4-8715-4A19-A72F-407C9E3810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D84007-5765-4D48-B57D-B9AFB6EC3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9D7F63-9E11-4A54-830B-2FA942134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5706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 bwMode="blackWhite">
          <a:xfrm>
            <a:off x="27517" y="12701"/>
            <a:ext cx="11861800" cy="6780213"/>
          </a:xfrm>
          <a:custGeom>
            <a:avLst/>
            <a:gdLst>
              <a:gd name="T0" fmla="*/ 2147483646 w 3985"/>
              <a:gd name="T1" fmla="*/ 0 h 3619"/>
              <a:gd name="T2" fmla="*/ 0 w 3985"/>
              <a:gd name="T3" fmla="*/ 2147483646 h 3619"/>
              <a:gd name="T4" fmla="*/ 2147483646 w 3985"/>
              <a:gd name="T5" fmla="*/ 2147483646 h 3619"/>
              <a:gd name="T6" fmla="*/ 2147483646 w 3985"/>
              <a:gd name="T7" fmla="*/ 2147483646 h 3619"/>
              <a:gd name="T8" fmla="*/ 2147483646 w 3985"/>
              <a:gd name="T9" fmla="*/ 0 h 3619"/>
              <a:gd name="T10" fmla="*/ 2147483646 w 3985"/>
              <a:gd name="T11" fmla="*/ 0 h 36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985" h="3619">
                <a:moveTo>
                  <a:pt x="2822" y="0"/>
                </a:moveTo>
                <a:lnTo>
                  <a:pt x="0" y="975"/>
                </a:lnTo>
                <a:lnTo>
                  <a:pt x="2169" y="3619"/>
                </a:lnTo>
                <a:lnTo>
                  <a:pt x="3985" y="1125"/>
                </a:lnTo>
                <a:lnTo>
                  <a:pt x="282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</a:endParaRPr>
          </a:p>
        </p:txBody>
      </p:sp>
      <p:grpSp>
        <p:nvGrpSpPr>
          <p:cNvPr id="5" name="Group 8"/>
          <p:cNvGrpSpPr>
            <a:grpSpLocks/>
          </p:cNvGrpSpPr>
          <p:nvPr/>
        </p:nvGrpSpPr>
        <p:grpSpPr bwMode="auto">
          <a:xfrm>
            <a:off x="260351" y="234950"/>
            <a:ext cx="5050367" cy="1778000"/>
            <a:chOff x="123" y="148"/>
            <a:chExt cx="2386" cy="1120"/>
          </a:xfrm>
        </p:grpSpPr>
        <p:sp>
          <p:nvSpPr>
            <p:cNvPr id="6" name="Freeform 9"/>
            <p:cNvSpPr>
              <a:spLocks/>
            </p:cNvSpPr>
            <p:nvPr userDrawn="1"/>
          </p:nvSpPr>
          <p:spPr bwMode="auto">
            <a:xfrm>
              <a:off x="177" y="177"/>
              <a:ext cx="2250" cy="1017"/>
            </a:xfrm>
            <a:custGeom>
              <a:avLst/>
              <a:gdLst>
                <a:gd name="T0" fmla="*/ 6376 w 794"/>
                <a:gd name="T1" fmla="*/ 2383 h 414"/>
                <a:gd name="T2" fmla="*/ 5702 w 794"/>
                <a:gd name="T3" fmla="*/ 1919 h 414"/>
                <a:gd name="T4" fmla="*/ 4466 w 794"/>
                <a:gd name="T5" fmla="*/ 1268 h 414"/>
                <a:gd name="T6" fmla="*/ 570 w 794"/>
                <a:gd name="T7" fmla="*/ 0 h 414"/>
                <a:gd name="T8" fmla="*/ 184 w 794"/>
                <a:gd name="T9" fmla="*/ 120 h 414"/>
                <a:gd name="T10" fmla="*/ 0 w 794"/>
                <a:gd name="T11" fmla="*/ 501 h 414"/>
                <a:gd name="T12" fmla="*/ 224 w 794"/>
                <a:gd name="T13" fmla="*/ 936 h 414"/>
                <a:gd name="T14" fmla="*/ 4577 w 794"/>
                <a:gd name="T15" fmla="*/ 2469 h 414"/>
                <a:gd name="T16" fmla="*/ 5531 w 794"/>
                <a:gd name="T17" fmla="*/ 2371 h 414"/>
                <a:gd name="T18" fmla="*/ 6302 w 794"/>
                <a:gd name="T19" fmla="*/ 2498 h 414"/>
                <a:gd name="T20" fmla="*/ 6376 w 794"/>
                <a:gd name="T21" fmla="*/ 2383 h 414"/>
                <a:gd name="T22" fmla="*/ 6376 w 794"/>
                <a:gd name="T23" fmla="*/ 2383 h 4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94" h="414">
                  <a:moveTo>
                    <a:pt x="794" y="395"/>
                  </a:moveTo>
                  <a:lnTo>
                    <a:pt x="710" y="318"/>
                  </a:lnTo>
                  <a:lnTo>
                    <a:pt x="556" y="210"/>
                  </a:lnTo>
                  <a:lnTo>
                    <a:pt x="71" y="0"/>
                  </a:lnTo>
                  <a:lnTo>
                    <a:pt x="23" y="20"/>
                  </a:lnTo>
                  <a:lnTo>
                    <a:pt x="0" y="83"/>
                  </a:lnTo>
                  <a:lnTo>
                    <a:pt x="28" y="155"/>
                  </a:lnTo>
                  <a:lnTo>
                    <a:pt x="570" y="409"/>
                  </a:lnTo>
                  <a:lnTo>
                    <a:pt x="689" y="393"/>
                  </a:lnTo>
                  <a:lnTo>
                    <a:pt x="785" y="414"/>
                  </a:lnTo>
                  <a:lnTo>
                    <a:pt x="794" y="395"/>
                  </a:lnTo>
                  <a:close/>
                </a:path>
              </a:pathLst>
            </a:custGeom>
            <a:solidFill>
              <a:srgbClr val="F8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7" name="Freeform 10"/>
            <p:cNvSpPr>
              <a:spLocks/>
            </p:cNvSpPr>
            <p:nvPr userDrawn="1"/>
          </p:nvSpPr>
          <p:spPr bwMode="auto">
            <a:xfrm>
              <a:off x="166" y="261"/>
              <a:ext cx="2244" cy="1007"/>
            </a:xfrm>
            <a:custGeom>
              <a:avLst/>
              <a:gdLst>
                <a:gd name="T0" fmla="*/ 274 w 1586"/>
                <a:gd name="T1" fmla="*/ 0 h 821"/>
                <a:gd name="T2" fmla="*/ 2664 w 1586"/>
                <a:gd name="T3" fmla="*/ 781 h 821"/>
                <a:gd name="T4" fmla="*/ 2858 w 1586"/>
                <a:gd name="T5" fmla="*/ 960 h 821"/>
                <a:gd name="T6" fmla="*/ 3175 w 1586"/>
                <a:gd name="T7" fmla="*/ 1191 h 821"/>
                <a:gd name="T8" fmla="*/ 3133 w 1586"/>
                <a:gd name="T9" fmla="*/ 1235 h 821"/>
                <a:gd name="T10" fmla="*/ 2702 w 1586"/>
                <a:gd name="T11" fmla="*/ 1184 h 821"/>
                <a:gd name="T12" fmla="*/ 2292 w 1586"/>
                <a:gd name="T13" fmla="*/ 1220 h 821"/>
                <a:gd name="T14" fmla="*/ 83 w 1586"/>
                <a:gd name="T15" fmla="*/ 449 h 821"/>
                <a:gd name="T16" fmla="*/ 0 w 1586"/>
                <a:gd name="T17" fmla="*/ 226 h 821"/>
                <a:gd name="T18" fmla="*/ 92 w 1586"/>
                <a:gd name="T19" fmla="*/ 48 h 821"/>
                <a:gd name="T20" fmla="*/ 274 w 1586"/>
                <a:gd name="T21" fmla="*/ 0 h 821"/>
                <a:gd name="T22" fmla="*/ 274 w 1586"/>
                <a:gd name="T23" fmla="*/ 0 h 8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86" h="821">
                  <a:moveTo>
                    <a:pt x="137" y="0"/>
                  </a:moveTo>
                  <a:lnTo>
                    <a:pt x="1331" y="519"/>
                  </a:lnTo>
                  <a:lnTo>
                    <a:pt x="1428" y="638"/>
                  </a:lnTo>
                  <a:lnTo>
                    <a:pt x="1586" y="792"/>
                  </a:lnTo>
                  <a:lnTo>
                    <a:pt x="1565" y="821"/>
                  </a:lnTo>
                  <a:lnTo>
                    <a:pt x="1350" y="787"/>
                  </a:lnTo>
                  <a:lnTo>
                    <a:pt x="1145" y="811"/>
                  </a:lnTo>
                  <a:lnTo>
                    <a:pt x="42" y="298"/>
                  </a:lnTo>
                  <a:lnTo>
                    <a:pt x="0" y="150"/>
                  </a:lnTo>
                  <a:lnTo>
                    <a:pt x="46" y="32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8" name="Freeform 11"/>
            <p:cNvSpPr>
              <a:spLocks/>
            </p:cNvSpPr>
            <p:nvPr userDrawn="1"/>
          </p:nvSpPr>
          <p:spPr bwMode="auto">
            <a:xfrm>
              <a:off x="474" y="344"/>
              <a:ext cx="1488" cy="919"/>
            </a:xfrm>
            <a:custGeom>
              <a:avLst/>
              <a:gdLst>
                <a:gd name="T0" fmla="*/ 0 w 1049"/>
                <a:gd name="T1" fmla="*/ 492 h 747"/>
                <a:gd name="T2" fmla="*/ 1855 w 1049"/>
                <a:gd name="T3" fmla="*/ 1131 h 747"/>
                <a:gd name="T4" fmla="*/ 1889 w 1049"/>
                <a:gd name="T5" fmla="*/ 808 h 747"/>
                <a:gd name="T6" fmla="*/ 2111 w 1049"/>
                <a:gd name="T7" fmla="*/ 639 h 747"/>
                <a:gd name="T8" fmla="*/ 157 w 1049"/>
                <a:gd name="T9" fmla="*/ 0 h 747"/>
                <a:gd name="T10" fmla="*/ 0 w 1049"/>
                <a:gd name="T11" fmla="*/ 192 h 747"/>
                <a:gd name="T12" fmla="*/ 0 w 1049"/>
                <a:gd name="T13" fmla="*/ 492 h 747"/>
                <a:gd name="T14" fmla="*/ 0 w 1049"/>
                <a:gd name="T15" fmla="*/ 492 h 7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49" h="747">
                  <a:moveTo>
                    <a:pt x="0" y="325"/>
                  </a:moveTo>
                  <a:lnTo>
                    <a:pt x="922" y="747"/>
                  </a:lnTo>
                  <a:lnTo>
                    <a:pt x="939" y="534"/>
                  </a:lnTo>
                  <a:lnTo>
                    <a:pt x="1049" y="422"/>
                  </a:lnTo>
                  <a:lnTo>
                    <a:pt x="78" y="0"/>
                  </a:lnTo>
                  <a:lnTo>
                    <a:pt x="0" y="127"/>
                  </a:lnTo>
                  <a:lnTo>
                    <a:pt x="0" y="32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grpSp>
          <p:nvGrpSpPr>
            <p:cNvPr id="9" name="Group 12"/>
            <p:cNvGrpSpPr>
              <a:grpSpLocks/>
            </p:cNvGrpSpPr>
            <p:nvPr userDrawn="1"/>
          </p:nvGrpSpPr>
          <p:grpSpPr bwMode="auto">
            <a:xfrm>
              <a:off x="123" y="148"/>
              <a:ext cx="2386" cy="1081"/>
              <a:chOff x="123" y="148"/>
              <a:chExt cx="2386" cy="1081"/>
            </a:xfrm>
          </p:grpSpPr>
          <p:sp>
            <p:nvSpPr>
              <p:cNvPr id="10" name="Freeform 13"/>
              <p:cNvSpPr>
                <a:spLocks/>
              </p:cNvSpPr>
              <p:nvPr userDrawn="1"/>
            </p:nvSpPr>
            <p:spPr bwMode="auto">
              <a:xfrm>
                <a:off x="2005" y="934"/>
                <a:ext cx="212" cy="214"/>
              </a:xfrm>
              <a:custGeom>
                <a:avLst/>
                <a:gdLst>
                  <a:gd name="T0" fmla="*/ 219 w 150"/>
                  <a:gd name="T1" fmla="*/ 0 h 173"/>
                  <a:gd name="T2" fmla="*/ 81 w 150"/>
                  <a:gd name="T3" fmla="*/ 101 h 173"/>
                  <a:gd name="T4" fmla="*/ 0 w 150"/>
                  <a:gd name="T5" fmla="*/ 265 h 173"/>
                  <a:gd name="T6" fmla="*/ 160 w 150"/>
                  <a:gd name="T7" fmla="*/ 245 h 173"/>
                  <a:gd name="T8" fmla="*/ 206 w 150"/>
                  <a:gd name="T9" fmla="*/ 129 h 173"/>
                  <a:gd name="T10" fmla="*/ 300 w 150"/>
                  <a:gd name="T11" fmla="*/ 41 h 173"/>
                  <a:gd name="T12" fmla="*/ 219 w 150"/>
                  <a:gd name="T13" fmla="*/ 0 h 173"/>
                  <a:gd name="T14" fmla="*/ 219 w 150"/>
                  <a:gd name="T15" fmla="*/ 0 h 17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0" h="173">
                    <a:moveTo>
                      <a:pt x="110" y="0"/>
                    </a:moveTo>
                    <a:lnTo>
                      <a:pt x="40" y="66"/>
                    </a:lnTo>
                    <a:lnTo>
                      <a:pt x="0" y="173"/>
                    </a:lnTo>
                    <a:lnTo>
                      <a:pt x="80" y="160"/>
                    </a:lnTo>
                    <a:lnTo>
                      <a:pt x="103" y="84"/>
                    </a:lnTo>
                    <a:lnTo>
                      <a:pt x="150" y="27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Freeform 14"/>
              <p:cNvSpPr>
                <a:spLocks/>
              </p:cNvSpPr>
              <p:nvPr userDrawn="1"/>
            </p:nvSpPr>
            <p:spPr bwMode="auto">
              <a:xfrm>
                <a:off x="123" y="148"/>
                <a:ext cx="2386" cy="1081"/>
              </a:xfrm>
              <a:custGeom>
                <a:avLst/>
                <a:gdLst>
                  <a:gd name="T0" fmla="*/ 313 w 1684"/>
                  <a:gd name="T1" fmla="*/ 0 h 880"/>
                  <a:gd name="T2" fmla="*/ 126 w 1684"/>
                  <a:gd name="T3" fmla="*/ 79 h 880"/>
                  <a:gd name="T4" fmla="*/ 0 w 1684"/>
                  <a:gd name="T5" fmla="*/ 314 h 880"/>
                  <a:gd name="T6" fmla="*/ 135 w 1684"/>
                  <a:gd name="T7" fmla="*/ 541 h 880"/>
                  <a:gd name="T8" fmla="*/ 2373 w 1684"/>
                  <a:gd name="T9" fmla="*/ 1308 h 880"/>
                  <a:gd name="T10" fmla="*/ 2855 w 1684"/>
                  <a:gd name="T11" fmla="*/ 1260 h 880"/>
                  <a:gd name="T12" fmla="*/ 3245 w 1684"/>
                  <a:gd name="T13" fmla="*/ 1328 h 880"/>
                  <a:gd name="T14" fmla="*/ 3381 w 1684"/>
                  <a:gd name="T15" fmla="*/ 1220 h 880"/>
                  <a:gd name="T16" fmla="*/ 3015 w 1684"/>
                  <a:gd name="T17" fmla="*/ 1002 h 880"/>
                  <a:gd name="T18" fmla="*/ 2866 w 1684"/>
                  <a:gd name="T19" fmla="*/ 773 h 880"/>
                  <a:gd name="T20" fmla="*/ 2749 w 1684"/>
                  <a:gd name="T21" fmla="*/ 795 h 880"/>
                  <a:gd name="T22" fmla="*/ 2889 w 1684"/>
                  <a:gd name="T23" fmla="*/ 1002 h 880"/>
                  <a:gd name="T24" fmla="*/ 3168 w 1684"/>
                  <a:gd name="T25" fmla="*/ 1222 h 880"/>
                  <a:gd name="T26" fmla="*/ 2837 w 1684"/>
                  <a:gd name="T27" fmla="*/ 1188 h 880"/>
                  <a:gd name="T28" fmla="*/ 2447 w 1684"/>
                  <a:gd name="T29" fmla="*/ 1228 h 880"/>
                  <a:gd name="T30" fmla="*/ 2519 w 1684"/>
                  <a:gd name="T31" fmla="*/ 980 h 880"/>
                  <a:gd name="T32" fmla="*/ 2686 w 1684"/>
                  <a:gd name="T33" fmla="*/ 812 h 880"/>
                  <a:gd name="T34" fmla="*/ 2491 w 1684"/>
                  <a:gd name="T35" fmla="*/ 833 h 880"/>
                  <a:gd name="T36" fmla="*/ 2339 w 1684"/>
                  <a:gd name="T37" fmla="*/ 993 h 880"/>
                  <a:gd name="T38" fmla="*/ 2287 w 1684"/>
                  <a:gd name="T39" fmla="*/ 1194 h 880"/>
                  <a:gd name="T40" fmla="*/ 215 w 1684"/>
                  <a:gd name="T41" fmla="*/ 468 h 880"/>
                  <a:gd name="T42" fmla="*/ 160 w 1684"/>
                  <a:gd name="T43" fmla="*/ 324 h 880"/>
                  <a:gd name="T44" fmla="*/ 207 w 1684"/>
                  <a:gd name="T45" fmla="*/ 144 h 880"/>
                  <a:gd name="T46" fmla="*/ 435 w 1684"/>
                  <a:gd name="T47" fmla="*/ 0 h 880"/>
                  <a:gd name="T48" fmla="*/ 313 w 1684"/>
                  <a:gd name="T49" fmla="*/ 0 h 880"/>
                  <a:gd name="T50" fmla="*/ 313 w 1684"/>
                  <a:gd name="T51" fmla="*/ 0 h 8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84" h="880">
                    <a:moveTo>
                      <a:pt x="156" y="0"/>
                    </a:moveTo>
                    <a:lnTo>
                      <a:pt x="63" y="52"/>
                    </a:lnTo>
                    <a:lnTo>
                      <a:pt x="0" y="208"/>
                    </a:lnTo>
                    <a:lnTo>
                      <a:pt x="67" y="358"/>
                    </a:lnTo>
                    <a:lnTo>
                      <a:pt x="1182" y="867"/>
                    </a:lnTo>
                    <a:lnTo>
                      <a:pt x="1422" y="835"/>
                    </a:lnTo>
                    <a:lnTo>
                      <a:pt x="1616" y="880"/>
                    </a:lnTo>
                    <a:lnTo>
                      <a:pt x="1684" y="808"/>
                    </a:lnTo>
                    <a:lnTo>
                      <a:pt x="1502" y="664"/>
                    </a:lnTo>
                    <a:lnTo>
                      <a:pt x="1428" y="512"/>
                    </a:lnTo>
                    <a:lnTo>
                      <a:pt x="1369" y="527"/>
                    </a:lnTo>
                    <a:lnTo>
                      <a:pt x="1439" y="664"/>
                    </a:lnTo>
                    <a:lnTo>
                      <a:pt x="1578" y="810"/>
                    </a:lnTo>
                    <a:lnTo>
                      <a:pt x="1413" y="787"/>
                    </a:lnTo>
                    <a:lnTo>
                      <a:pt x="1219" y="814"/>
                    </a:lnTo>
                    <a:lnTo>
                      <a:pt x="1255" y="650"/>
                    </a:lnTo>
                    <a:lnTo>
                      <a:pt x="1338" y="538"/>
                    </a:lnTo>
                    <a:lnTo>
                      <a:pt x="1241" y="552"/>
                    </a:lnTo>
                    <a:lnTo>
                      <a:pt x="1165" y="658"/>
                    </a:lnTo>
                    <a:lnTo>
                      <a:pt x="1139" y="791"/>
                    </a:lnTo>
                    <a:lnTo>
                      <a:pt x="107" y="310"/>
                    </a:lnTo>
                    <a:lnTo>
                      <a:pt x="80" y="215"/>
                    </a:lnTo>
                    <a:lnTo>
                      <a:pt x="103" y="95"/>
                    </a:lnTo>
                    <a:lnTo>
                      <a:pt x="217" y="0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15"/>
              <p:cNvSpPr>
                <a:spLocks/>
              </p:cNvSpPr>
              <p:nvPr userDrawn="1"/>
            </p:nvSpPr>
            <p:spPr bwMode="auto">
              <a:xfrm>
                <a:off x="324" y="158"/>
                <a:ext cx="1686" cy="614"/>
              </a:xfrm>
              <a:custGeom>
                <a:avLst/>
                <a:gdLst>
                  <a:gd name="T0" fmla="*/ 201 w 1190"/>
                  <a:gd name="T1" fmla="*/ 0 h 500"/>
                  <a:gd name="T2" fmla="*/ 2389 w 1190"/>
                  <a:gd name="T3" fmla="*/ 739 h 500"/>
                  <a:gd name="T4" fmla="*/ 2159 w 1190"/>
                  <a:gd name="T5" fmla="*/ 754 h 500"/>
                  <a:gd name="T6" fmla="*/ 0 w 1190"/>
                  <a:gd name="T7" fmla="*/ 41 h 500"/>
                  <a:gd name="T8" fmla="*/ 201 w 1190"/>
                  <a:gd name="T9" fmla="*/ 0 h 500"/>
                  <a:gd name="T10" fmla="*/ 201 w 1190"/>
                  <a:gd name="T11" fmla="*/ 0 h 5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90" h="500">
                    <a:moveTo>
                      <a:pt x="100" y="0"/>
                    </a:moveTo>
                    <a:lnTo>
                      <a:pt x="1190" y="490"/>
                    </a:lnTo>
                    <a:lnTo>
                      <a:pt x="1076" y="500"/>
                    </a:lnTo>
                    <a:lnTo>
                      <a:pt x="0" y="27"/>
                    </a:lnTo>
                    <a:lnTo>
                      <a:pt x="10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16"/>
              <p:cNvSpPr>
                <a:spLocks/>
              </p:cNvSpPr>
              <p:nvPr userDrawn="1"/>
            </p:nvSpPr>
            <p:spPr bwMode="auto">
              <a:xfrm>
                <a:off x="409" y="251"/>
                <a:ext cx="227" cy="410"/>
              </a:xfrm>
              <a:custGeom>
                <a:avLst/>
                <a:gdLst>
                  <a:gd name="T0" fmla="*/ 234 w 160"/>
                  <a:gd name="T1" fmla="*/ 0 h 335"/>
                  <a:gd name="T2" fmla="*/ 38 w 160"/>
                  <a:gd name="T3" fmla="*/ 159 h 335"/>
                  <a:gd name="T4" fmla="*/ 0 w 160"/>
                  <a:gd name="T5" fmla="*/ 344 h 335"/>
                  <a:gd name="T6" fmla="*/ 67 w 160"/>
                  <a:gd name="T7" fmla="*/ 470 h 335"/>
                  <a:gd name="T8" fmla="*/ 189 w 160"/>
                  <a:gd name="T9" fmla="*/ 502 h 335"/>
                  <a:gd name="T10" fmla="*/ 153 w 160"/>
                  <a:gd name="T11" fmla="*/ 230 h 335"/>
                  <a:gd name="T12" fmla="*/ 322 w 160"/>
                  <a:gd name="T13" fmla="*/ 26 h 335"/>
                  <a:gd name="T14" fmla="*/ 234 w 160"/>
                  <a:gd name="T15" fmla="*/ 0 h 335"/>
                  <a:gd name="T16" fmla="*/ 234 w 160"/>
                  <a:gd name="T17" fmla="*/ 0 h 33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0" h="335">
                    <a:moveTo>
                      <a:pt x="116" y="0"/>
                    </a:moveTo>
                    <a:lnTo>
                      <a:pt x="19" y="106"/>
                    </a:lnTo>
                    <a:lnTo>
                      <a:pt x="0" y="230"/>
                    </a:lnTo>
                    <a:lnTo>
                      <a:pt x="33" y="314"/>
                    </a:lnTo>
                    <a:lnTo>
                      <a:pt x="94" y="335"/>
                    </a:lnTo>
                    <a:lnTo>
                      <a:pt x="76" y="154"/>
                    </a:lnTo>
                    <a:lnTo>
                      <a:pt x="160" y="17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17"/>
              <p:cNvSpPr>
                <a:spLocks/>
              </p:cNvSpPr>
              <p:nvPr userDrawn="1"/>
            </p:nvSpPr>
            <p:spPr bwMode="auto">
              <a:xfrm>
                <a:off x="846" y="536"/>
                <a:ext cx="691" cy="364"/>
              </a:xfrm>
              <a:custGeom>
                <a:avLst/>
                <a:gdLst>
                  <a:gd name="T0" fmla="*/ 28 w 489"/>
                  <a:gd name="T1" fmla="*/ 52 h 296"/>
                  <a:gd name="T2" fmla="*/ 319 w 489"/>
                  <a:gd name="T3" fmla="*/ 100 h 296"/>
                  <a:gd name="T4" fmla="*/ 647 w 489"/>
                  <a:gd name="T5" fmla="*/ 207 h 296"/>
                  <a:gd name="T6" fmla="*/ 879 w 489"/>
                  <a:gd name="T7" fmla="*/ 368 h 296"/>
                  <a:gd name="T8" fmla="*/ 651 w 489"/>
                  <a:gd name="T9" fmla="*/ 348 h 296"/>
                  <a:gd name="T10" fmla="*/ 277 w 489"/>
                  <a:gd name="T11" fmla="*/ 221 h 296"/>
                  <a:gd name="T12" fmla="*/ 100 w 489"/>
                  <a:gd name="T13" fmla="*/ 121 h 296"/>
                  <a:gd name="T14" fmla="*/ 213 w 489"/>
                  <a:gd name="T15" fmla="*/ 246 h 296"/>
                  <a:gd name="T16" fmla="*/ 543 w 489"/>
                  <a:gd name="T17" fmla="*/ 408 h 296"/>
                  <a:gd name="T18" fmla="*/ 930 w 489"/>
                  <a:gd name="T19" fmla="*/ 448 h 296"/>
                  <a:gd name="T20" fmla="*/ 976 w 489"/>
                  <a:gd name="T21" fmla="*/ 338 h 296"/>
                  <a:gd name="T22" fmla="*/ 787 w 489"/>
                  <a:gd name="T23" fmla="*/ 182 h 296"/>
                  <a:gd name="T24" fmla="*/ 339 w 489"/>
                  <a:gd name="T25" fmla="*/ 26 h 296"/>
                  <a:gd name="T26" fmla="*/ 0 w 489"/>
                  <a:gd name="T27" fmla="*/ 0 h 296"/>
                  <a:gd name="T28" fmla="*/ 28 w 489"/>
                  <a:gd name="T29" fmla="*/ 52 h 296"/>
                  <a:gd name="T30" fmla="*/ 28 w 489"/>
                  <a:gd name="T31" fmla="*/ 52 h 29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89" h="296">
                    <a:moveTo>
                      <a:pt x="14" y="34"/>
                    </a:moveTo>
                    <a:lnTo>
                      <a:pt x="160" y="66"/>
                    </a:lnTo>
                    <a:lnTo>
                      <a:pt x="324" y="137"/>
                    </a:lnTo>
                    <a:lnTo>
                      <a:pt x="440" y="243"/>
                    </a:lnTo>
                    <a:lnTo>
                      <a:pt x="326" y="230"/>
                    </a:lnTo>
                    <a:lnTo>
                      <a:pt x="139" y="146"/>
                    </a:lnTo>
                    <a:lnTo>
                      <a:pt x="50" y="80"/>
                    </a:lnTo>
                    <a:lnTo>
                      <a:pt x="107" y="163"/>
                    </a:lnTo>
                    <a:lnTo>
                      <a:pt x="272" y="270"/>
                    </a:lnTo>
                    <a:lnTo>
                      <a:pt x="466" y="296"/>
                    </a:lnTo>
                    <a:lnTo>
                      <a:pt x="489" y="224"/>
                    </a:lnTo>
                    <a:lnTo>
                      <a:pt x="394" y="120"/>
                    </a:lnTo>
                    <a:lnTo>
                      <a:pt x="170" y="17"/>
                    </a:lnTo>
                    <a:lnTo>
                      <a:pt x="0" y="0"/>
                    </a:lnTo>
                    <a:lnTo>
                      <a:pt x="14" y="3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5" name="Group 18"/>
          <p:cNvGrpSpPr>
            <a:grpSpLocks/>
          </p:cNvGrpSpPr>
          <p:nvPr/>
        </p:nvGrpSpPr>
        <p:grpSpPr bwMode="auto">
          <a:xfrm>
            <a:off x="10553700" y="4368801"/>
            <a:ext cx="990600" cy="1058863"/>
            <a:chOff x="4986" y="2752"/>
            <a:chExt cx="468" cy="667"/>
          </a:xfrm>
        </p:grpSpPr>
        <p:sp>
          <p:nvSpPr>
            <p:cNvPr id="16" name="Freeform 19"/>
            <p:cNvSpPr>
              <a:spLocks/>
            </p:cNvSpPr>
            <p:nvPr userDrawn="1"/>
          </p:nvSpPr>
          <p:spPr bwMode="auto">
            <a:xfrm rot="7320404">
              <a:off x="4909" y="2936"/>
              <a:ext cx="629" cy="293"/>
            </a:xfrm>
            <a:custGeom>
              <a:avLst/>
              <a:gdLst>
                <a:gd name="T0" fmla="*/ 498 w 794"/>
                <a:gd name="T1" fmla="*/ 198 h 414"/>
                <a:gd name="T2" fmla="*/ 445 w 794"/>
                <a:gd name="T3" fmla="*/ 159 h 414"/>
                <a:gd name="T4" fmla="*/ 349 w 794"/>
                <a:gd name="T5" fmla="*/ 105 h 414"/>
                <a:gd name="T6" fmla="*/ 44 w 794"/>
                <a:gd name="T7" fmla="*/ 0 h 414"/>
                <a:gd name="T8" fmla="*/ 14 w 794"/>
                <a:gd name="T9" fmla="*/ 10 h 414"/>
                <a:gd name="T10" fmla="*/ 0 w 794"/>
                <a:gd name="T11" fmla="*/ 42 h 414"/>
                <a:gd name="T12" fmla="*/ 17 w 794"/>
                <a:gd name="T13" fmla="*/ 78 h 414"/>
                <a:gd name="T14" fmla="*/ 358 w 794"/>
                <a:gd name="T15" fmla="*/ 205 h 414"/>
                <a:gd name="T16" fmla="*/ 433 w 794"/>
                <a:gd name="T17" fmla="*/ 197 h 414"/>
                <a:gd name="T18" fmla="*/ 493 w 794"/>
                <a:gd name="T19" fmla="*/ 207 h 414"/>
                <a:gd name="T20" fmla="*/ 498 w 794"/>
                <a:gd name="T21" fmla="*/ 198 h 414"/>
                <a:gd name="T22" fmla="*/ 498 w 794"/>
                <a:gd name="T23" fmla="*/ 198 h 4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94" h="414">
                  <a:moveTo>
                    <a:pt x="794" y="395"/>
                  </a:moveTo>
                  <a:lnTo>
                    <a:pt x="710" y="318"/>
                  </a:lnTo>
                  <a:lnTo>
                    <a:pt x="556" y="210"/>
                  </a:lnTo>
                  <a:lnTo>
                    <a:pt x="71" y="0"/>
                  </a:lnTo>
                  <a:lnTo>
                    <a:pt x="23" y="20"/>
                  </a:lnTo>
                  <a:lnTo>
                    <a:pt x="0" y="83"/>
                  </a:lnTo>
                  <a:lnTo>
                    <a:pt x="28" y="155"/>
                  </a:lnTo>
                  <a:lnTo>
                    <a:pt x="570" y="409"/>
                  </a:lnTo>
                  <a:lnTo>
                    <a:pt x="689" y="393"/>
                  </a:lnTo>
                  <a:lnTo>
                    <a:pt x="785" y="414"/>
                  </a:lnTo>
                  <a:lnTo>
                    <a:pt x="794" y="395"/>
                  </a:lnTo>
                  <a:close/>
                </a:path>
              </a:pathLst>
            </a:custGeom>
            <a:solidFill>
              <a:srgbClr val="F8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7" name="Freeform 20"/>
            <p:cNvSpPr>
              <a:spLocks/>
            </p:cNvSpPr>
            <p:nvPr userDrawn="1"/>
          </p:nvSpPr>
          <p:spPr bwMode="auto">
            <a:xfrm rot="7320404">
              <a:off x="4893" y="2923"/>
              <a:ext cx="627" cy="290"/>
            </a:xfrm>
            <a:custGeom>
              <a:avLst/>
              <a:gdLst>
                <a:gd name="T0" fmla="*/ 21 w 1586"/>
                <a:gd name="T1" fmla="*/ 0 h 821"/>
                <a:gd name="T2" fmla="*/ 208 w 1586"/>
                <a:gd name="T3" fmla="*/ 65 h 821"/>
                <a:gd name="T4" fmla="*/ 223 w 1586"/>
                <a:gd name="T5" fmla="*/ 79 h 821"/>
                <a:gd name="T6" fmla="*/ 248 w 1586"/>
                <a:gd name="T7" fmla="*/ 99 h 821"/>
                <a:gd name="T8" fmla="*/ 245 w 1586"/>
                <a:gd name="T9" fmla="*/ 102 h 821"/>
                <a:gd name="T10" fmla="*/ 211 w 1586"/>
                <a:gd name="T11" fmla="*/ 98 h 821"/>
                <a:gd name="T12" fmla="*/ 179 w 1586"/>
                <a:gd name="T13" fmla="*/ 101 h 821"/>
                <a:gd name="T14" fmla="*/ 7 w 1586"/>
                <a:gd name="T15" fmla="*/ 37 h 821"/>
                <a:gd name="T16" fmla="*/ 0 w 1586"/>
                <a:gd name="T17" fmla="*/ 19 h 821"/>
                <a:gd name="T18" fmla="*/ 7 w 1586"/>
                <a:gd name="T19" fmla="*/ 4 h 821"/>
                <a:gd name="T20" fmla="*/ 21 w 1586"/>
                <a:gd name="T21" fmla="*/ 0 h 821"/>
                <a:gd name="T22" fmla="*/ 21 w 1586"/>
                <a:gd name="T23" fmla="*/ 0 h 8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86" h="821">
                  <a:moveTo>
                    <a:pt x="137" y="0"/>
                  </a:moveTo>
                  <a:lnTo>
                    <a:pt x="1331" y="519"/>
                  </a:lnTo>
                  <a:lnTo>
                    <a:pt x="1428" y="638"/>
                  </a:lnTo>
                  <a:lnTo>
                    <a:pt x="1586" y="792"/>
                  </a:lnTo>
                  <a:lnTo>
                    <a:pt x="1565" y="821"/>
                  </a:lnTo>
                  <a:lnTo>
                    <a:pt x="1350" y="787"/>
                  </a:lnTo>
                  <a:lnTo>
                    <a:pt x="1145" y="811"/>
                  </a:lnTo>
                  <a:lnTo>
                    <a:pt x="42" y="298"/>
                  </a:lnTo>
                  <a:lnTo>
                    <a:pt x="0" y="150"/>
                  </a:lnTo>
                  <a:lnTo>
                    <a:pt x="46" y="32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8" name="Freeform 21"/>
            <p:cNvSpPr>
              <a:spLocks/>
            </p:cNvSpPr>
            <p:nvPr userDrawn="1"/>
          </p:nvSpPr>
          <p:spPr bwMode="auto">
            <a:xfrm rot="7320404">
              <a:off x="5000" y="2912"/>
              <a:ext cx="416" cy="265"/>
            </a:xfrm>
            <a:custGeom>
              <a:avLst/>
              <a:gdLst>
                <a:gd name="T0" fmla="*/ 0 w 1049"/>
                <a:gd name="T1" fmla="*/ 41 h 747"/>
                <a:gd name="T2" fmla="*/ 145 w 1049"/>
                <a:gd name="T3" fmla="*/ 94 h 747"/>
                <a:gd name="T4" fmla="*/ 148 w 1049"/>
                <a:gd name="T5" fmla="*/ 67 h 747"/>
                <a:gd name="T6" fmla="*/ 165 w 1049"/>
                <a:gd name="T7" fmla="*/ 53 h 747"/>
                <a:gd name="T8" fmla="*/ 12 w 1049"/>
                <a:gd name="T9" fmla="*/ 0 h 747"/>
                <a:gd name="T10" fmla="*/ 0 w 1049"/>
                <a:gd name="T11" fmla="*/ 16 h 747"/>
                <a:gd name="T12" fmla="*/ 0 w 1049"/>
                <a:gd name="T13" fmla="*/ 41 h 747"/>
                <a:gd name="T14" fmla="*/ 0 w 1049"/>
                <a:gd name="T15" fmla="*/ 41 h 7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49" h="747">
                  <a:moveTo>
                    <a:pt x="0" y="325"/>
                  </a:moveTo>
                  <a:lnTo>
                    <a:pt x="922" y="747"/>
                  </a:lnTo>
                  <a:lnTo>
                    <a:pt x="939" y="534"/>
                  </a:lnTo>
                  <a:lnTo>
                    <a:pt x="1049" y="422"/>
                  </a:lnTo>
                  <a:lnTo>
                    <a:pt x="78" y="0"/>
                  </a:lnTo>
                  <a:lnTo>
                    <a:pt x="0" y="127"/>
                  </a:lnTo>
                  <a:lnTo>
                    <a:pt x="0" y="32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grpSp>
          <p:nvGrpSpPr>
            <p:cNvPr id="19" name="Group 22"/>
            <p:cNvGrpSpPr>
              <a:grpSpLocks/>
            </p:cNvGrpSpPr>
            <p:nvPr userDrawn="1"/>
          </p:nvGrpSpPr>
          <p:grpSpPr bwMode="auto">
            <a:xfrm>
              <a:off x="4986" y="2752"/>
              <a:ext cx="468" cy="667"/>
              <a:chOff x="4986" y="2752"/>
              <a:chExt cx="468" cy="667"/>
            </a:xfrm>
          </p:grpSpPr>
          <p:sp>
            <p:nvSpPr>
              <p:cNvPr id="20" name="Freeform 23"/>
              <p:cNvSpPr>
                <a:spLocks/>
              </p:cNvSpPr>
              <p:nvPr userDrawn="1"/>
            </p:nvSpPr>
            <p:spPr bwMode="auto">
              <a:xfrm rot="7320404">
                <a:off x="4987" y="3190"/>
                <a:ext cx="59" cy="61"/>
              </a:xfrm>
              <a:custGeom>
                <a:avLst/>
                <a:gdLst>
                  <a:gd name="T0" fmla="*/ 17 w 150"/>
                  <a:gd name="T1" fmla="*/ 0 h 173"/>
                  <a:gd name="T2" fmla="*/ 6 w 150"/>
                  <a:gd name="T3" fmla="*/ 8 h 173"/>
                  <a:gd name="T4" fmla="*/ 0 w 150"/>
                  <a:gd name="T5" fmla="*/ 22 h 173"/>
                  <a:gd name="T6" fmla="*/ 12 w 150"/>
                  <a:gd name="T7" fmla="*/ 20 h 173"/>
                  <a:gd name="T8" fmla="*/ 16 w 150"/>
                  <a:gd name="T9" fmla="*/ 11 h 173"/>
                  <a:gd name="T10" fmla="*/ 23 w 150"/>
                  <a:gd name="T11" fmla="*/ 4 h 173"/>
                  <a:gd name="T12" fmla="*/ 17 w 150"/>
                  <a:gd name="T13" fmla="*/ 0 h 173"/>
                  <a:gd name="T14" fmla="*/ 17 w 150"/>
                  <a:gd name="T15" fmla="*/ 0 h 17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0" h="173">
                    <a:moveTo>
                      <a:pt x="110" y="0"/>
                    </a:moveTo>
                    <a:lnTo>
                      <a:pt x="40" y="66"/>
                    </a:lnTo>
                    <a:lnTo>
                      <a:pt x="0" y="173"/>
                    </a:lnTo>
                    <a:lnTo>
                      <a:pt x="80" y="160"/>
                    </a:lnTo>
                    <a:lnTo>
                      <a:pt x="103" y="84"/>
                    </a:lnTo>
                    <a:lnTo>
                      <a:pt x="150" y="27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24"/>
              <p:cNvSpPr>
                <a:spLocks/>
              </p:cNvSpPr>
              <p:nvPr userDrawn="1"/>
            </p:nvSpPr>
            <p:spPr bwMode="auto">
              <a:xfrm rot="7320404">
                <a:off x="4887" y="2930"/>
                <a:ext cx="667" cy="311"/>
              </a:xfrm>
              <a:custGeom>
                <a:avLst/>
                <a:gdLst>
                  <a:gd name="T0" fmla="*/ 25 w 1684"/>
                  <a:gd name="T1" fmla="*/ 0 h 880"/>
                  <a:gd name="T2" fmla="*/ 10 w 1684"/>
                  <a:gd name="T3" fmla="*/ 6 h 880"/>
                  <a:gd name="T4" fmla="*/ 0 w 1684"/>
                  <a:gd name="T5" fmla="*/ 26 h 880"/>
                  <a:gd name="T6" fmla="*/ 11 w 1684"/>
                  <a:gd name="T7" fmla="*/ 45 h 880"/>
                  <a:gd name="T8" fmla="*/ 185 w 1684"/>
                  <a:gd name="T9" fmla="*/ 108 h 880"/>
                  <a:gd name="T10" fmla="*/ 223 w 1684"/>
                  <a:gd name="T11" fmla="*/ 104 h 880"/>
                  <a:gd name="T12" fmla="*/ 253 w 1684"/>
                  <a:gd name="T13" fmla="*/ 110 h 880"/>
                  <a:gd name="T14" fmla="*/ 264 w 1684"/>
                  <a:gd name="T15" fmla="*/ 101 h 880"/>
                  <a:gd name="T16" fmla="*/ 236 w 1684"/>
                  <a:gd name="T17" fmla="*/ 83 h 880"/>
                  <a:gd name="T18" fmla="*/ 224 w 1684"/>
                  <a:gd name="T19" fmla="*/ 64 h 880"/>
                  <a:gd name="T20" fmla="*/ 215 w 1684"/>
                  <a:gd name="T21" fmla="*/ 66 h 880"/>
                  <a:gd name="T22" fmla="*/ 226 w 1684"/>
                  <a:gd name="T23" fmla="*/ 83 h 880"/>
                  <a:gd name="T24" fmla="*/ 248 w 1684"/>
                  <a:gd name="T25" fmla="*/ 101 h 880"/>
                  <a:gd name="T26" fmla="*/ 222 w 1684"/>
                  <a:gd name="T27" fmla="*/ 98 h 880"/>
                  <a:gd name="T28" fmla="*/ 191 w 1684"/>
                  <a:gd name="T29" fmla="*/ 102 h 880"/>
                  <a:gd name="T30" fmla="*/ 197 w 1684"/>
                  <a:gd name="T31" fmla="*/ 81 h 880"/>
                  <a:gd name="T32" fmla="*/ 210 w 1684"/>
                  <a:gd name="T33" fmla="*/ 67 h 880"/>
                  <a:gd name="T34" fmla="*/ 195 w 1684"/>
                  <a:gd name="T35" fmla="*/ 69 h 880"/>
                  <a:gd name="T36" fmla="*/ 183 w 1684"/>
                  <a:gd name="T37" fmla="*/ 82 h 880"/>
                  <a:gd name="T38" fmla="*/ 179 w 1684"/>
                  <a:gd name="T39" fmla="*/ 99 h 880"/>
                  <a:gd name="T40" fmla="*/ 17 w 1684"/>
                  <a:gd name="T41" fmla="*/ 39 h 880"/>
                  <a:gd name="T42" fmla="*/ 13 w 1684"/>
                  <a:gd name="T43" fmla="*/ 27 h 880"/>
                  <a:gd name="T44" fmla="*/ 16 w 1684"/>
                  <a:gd name="T45" fmla="*/ 12 h 880"/>
                  <a:gd name="T46" fmla="*/ 34 w 1684"/>
                  <a:gd name="T47" fmla="*/ 0 h 880"/>
                  <a:gd name="T48" fmla="*/ 25 w 1684"/>
                  <a:gd name="T49" fmla="*/ 0 h 880"/>
                  <a:gd name="T50" fmla="*/ 25 w 1684"/>
                  <a:gd name="T51" fmla="*/ 0 h 8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84" h="880">
                    <a:moveTo>
                      <a:pt x="156" y="0"/>
                    </a:moveTo>
                    <a:lnTo>
                      <a:pt x="63" y="52"/>
                    </a:lnTo>
                    <a:lnTo>
                      <a:pt x="0" y="208"/>
                    </a:lnTo>
                    <a:lnTo>
                      <a:pt x="67" y="358"/>
                    </a:lnTo>
                    <a:lnTo>
                      <a:pt x="1182" y="867"/>
                    </a:lnTo>
                    <a:lnTo>
                      <a:pt x="1422" y="835"/>
                    </a:lnTo>
                    <a:lnTo>
                      <a:pt x="1616" y="880"/>
                    </a:lnTo>
                    <a:lnTo>
                      <a:pt x="1684" y="808"/>
                    </a:lnTo>
                    <a:lnTo>
                      <a:pt x="1502" y="664"/>
                    </a:lnTo>
                    <a:lnTo>
                      <a:pt x="1428" y="512"/>
                    </a:lnTo>
                    <a:lnTo>
                      <a:pt x="1369" y="527"/>
                    </a:lnTo>
                    <a:lnTo>
                      <a:pt x="1439" y="664"/>
                    </a:lnTo>
                    <a:lnTo>
                      <a:pt x="1578" y="810"/>
                    </a:lnTo>
                    <a:lnTo>
                      <a:pt x="1413" y="787"/>
                    </a:lnTo>
                    <a:lnTo>
                      <a:pt x="1219" y="814"/>
                    </a:lnTo>
                    <a:lnTo>
                      <a:pt x="1255" y="650"/>
                    </a:lnTo>
                    <a:lnTo>
                      <a:pt x="1338" y="538"/>
                    </a:lnTo>
                    <a:lnTo>
                      <a:pt x="1241" y="552"/>
                    </a:lnTo>
                    <a:lnTo>
                      <a:pt x="1165" y="658"/>
                    </a:lnTo>
                    <a:lnTo>
                      <a:pt x="1139" y="791"/>
                    </a:lnTo>
                    <a:lnTo>
                      <a:pt x="107" y="310"/>
                    </a:lnTo>
                    <a:lnTo>
                      <a:pt x="80" y="215"/>
                    </a:lnTo>
                    <a:lnTo>
                      <a:pt x="103" y="95"/>
                    </a:lnTo>
                    <a:lnTo>
                      <a:pt x="217" y="0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5"/>
              <p:cNvSpPr>
                <a:spLocks/>
              </p:cNvSpPr>
              <p:nvPr userDrawn="1"/>
            </p:nvSpPr>
            <p:spPr bwMode="auto">
              <a:xfrm rot="7320404">
                <a:off x="5062" y="2997"/>
                <a:ext cx="472" cy="176"/>
              </a:xfrm>
              <a:custGeom>
                <a:avLst/>
                <a:gdLst>
                  <a:gd name="T0" fmla="*/ 16 w 1190"/>
                  <a:gd name="T1" fmla="*/ 0 h 500"/>
                  <a:gd name="T2" fmla="*/ 187 w 1190"/>
                  <a:gd name="T3" fmla="*/ 61 h 500"/>
                  <a:gd name="T4" fmla="*/ 169 w 1190"/>
                  <a:gd name="T5" fmla="*/ 62 h 500"/>
                  <a:gd name="T6" fmla="*/ 0 w 1190"/>
                  <a:gd name="T7" fmla="*/ 4 h 500"/>
                  <a:gd name="T8" fmla="*/ 16 w 1190"/>
                  <a:gd name="T9" fmla="*/ 0 h 500"/>
                  <a:gd name="T10" fmla="*/ 16 w 1190"/>
                  <a:gd name="T11" fmla="*/ 0 h 5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90" h="500">
                    <a:moveTo>
                      <a:pt x="100" y="0"/>
                    </a:moveTo>
                    <a:lnTo>
                      <a:pt x="1190" y="490"/>
                    </a:lnTo>
                    <a:lnTo>
                      <a:pt x="1076" y="500"/>
                    </a:lnTo>
                    <a:lnTo>
                      <a:pt x="0" y="27"/>
                    </a:lnTo>
                    <a:lnTo>
                      <a:pt x="10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26"/>
              <p:cNvSpPr>
                <a:spLocks/>
              </p:cNvSpPr>
              <p:nvPr userDrawn="1"/>
            </p:nvSpPr>
            <p:spPr bwMode="auto">
              <a:xfrm rot="7320404">
                <a:off x="5363" y="2874"/>
                <a:ext cx="63" cy="118"/>
              </a:xfrm>
              <a:custGeom>
                <a:avLst/>
                <a:gdLst>
                  <a:gd name="T0" fmla="*/ 18 w 160"/>
                  <a:gd name="T1" fmla="*/ 0 h 335"/>
                  <a:gd name="T2" fmla="*/ 3 w 160"/>
                  <a:gd name="T3" fmla="*/ 13 h 335"/>
                  <a:gd name="T4" fmla="*/ 0 w 160"/>
                  <a:gd name="T5" fmla="*/ 29 h 335"/>
                  <a:gd name="T6" fmla="*/ 5 w 160"/>
                  <a:gd name="T7" fmla="*/ 39 h 335"/>
                  <a:gd name="T8" fmla="*/ 15 w 160"/>
                  <a:gd name="T9" fmla="*/ 42 h 335"/>
                  <a:gd name="T10" fmla="*/ 12 w 160"/>
                  <a:gd name="T11" fmla="*/ 19 h 335"/>
                  <a:gd name="T12" fmla="*/ 25 w 160"/>
                  <a:gd name="T13" fmla="*/ 2 h 335"/>
                  <a:gd name="T14" fmla="*/ 18 w 160"/>
                  <a:gd name="T15" fmla="*/ 0 h 335"/>
                  <a:gd name="T16" fmla="*/ 18 w 160"/>
                  <a:gd name="T17" fmla="*/ 0 h 33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0" h="335">
                    <a:moveTo>
                      <a:pt x="116" y="0"/>
                    </a:moveTo>
                    <a:lnTo>
                      <a:pt x="19" y="106"/>
                    </a:lnTo>
                    <a:lnTo>
                      <a:pt x="0" y="230"/>
                    </a:lnTo>
                    <a:lnTo>
                      <a:pt x="33" y="314"/>
                    </a:lnTo>
                    <a:lnTo>
                      <a:pt x="94" y="335"/>
                    </a:lnTo>
                    <a:lnTo>
                      <a:pt x="76" y="154"/>
                    </a:lnTo>
                    <a:lnTo>
                      <a:pt x="160" y="17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27"/>
              <p:cNvSpPr>
                <a:spLocks/>
              </p:cNvSpPr>
              <p:nvPr userDrawn="1"/>
            </p:nvSpPr>
            <p:spPr bwMode="auto">
              <a:xfrm rot="7320404">
                <a:off x="5136" y="3000"/>
                <a:ext cx="193" cy="104"/>
              </a:xfrm>
              <a:custGeom>
                <a:avLst/>
                <a:gdLst>
                  <a:gd name="T0" fmla="*/ 2 w 489"/>
                  <a:gd name="T1" fmla="*/ 4 h 296"/>
                  <a:gd name="T2" fmla="*/ 25 w 489"/>
                  <a:gd name="T3" fmla="*/ 8 h 296"/>
                  <a:gd name="T4" fmla="*/ 51 w 489"/>
                  <a:gd name="T5" fmla="*/ 17 h 296"/>
                  <a:gd name="T6" fmla="*/ 69 w 489"/>
                  <a:gd name="T7" fmla="*/ 30 h 296"/>
                  <a:gd name="T8" fmla="*/ 51 w 489"/>
                  <a:gd name="T9" fmla="*/ 28 h 296"/>
                  <a:gd name="T10" fmla="*/ 22 w 489"/>
                  <a:gd name="T11" fmla="*/ 18 h 296"/>
                  <a:gd name="T12" fmla="*/ 8 w 489"/>
                  <a:gd name="T13" fmla="*/ 10 h 296"/>
                  <a:gd name="T14" fmla="*/ 17 w 489"/>
                  <a:gd name="T15" fmla="*/ 20 h 296"/>
                  <a:gd name="T16" fmla="*/ 42 w 489"/>
                  <a:gd name="T17" fmla="*/ 33 h 296"/>
                  <a:gd name="T18" fmla="*/ 73 w 489"/>
                  <a:gd name="T19" fmla="*/ 37 h 296"/>
                  <a:gd name="T20" fmla="*/ 76 w 489"/>
                  <a:gd name="T21" fmla="*/ 28 h 296"/>
                  <a:gd name="T22" fmla="*/ 62 w 489"/>
                  <a:gd name="T23" fmla="*/ 15 h 296"/>
                  <a:gd name="T24" fmla="*/ 26 w 489"/>
                  <a:gd name="T25" fmla="*/ 2 h 296"/>
                  <a:gd name="T26" fmla="*/ 0 w 489"/>
                  <a:gd name="T27" fmla="*/ 0 h 296"/>
                  <a:gd name="T28" fmla="*/ 2 w 489"/>
                  <a:gd name="T29" fmla="*/ 4 h 296"/>
                  <a:gd name="T30" fmla="*/ 2 w 489"/>
                  <a:gd name="T31" fmla="*/ 4 h 29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89" h="296">
                    <a:moveTo>
                      <a:pt x="14" y="34"/>
                    </a:moveTo>
                    <a:lnTo>
                      <a:pt x="160" y="66"/>
                    </a:lnTo>
                    <a:lnTo>
                      <a:pt x="324" y="137"/>
                    </a:lnTo>
                    <a:lnTo>
                      <a:pt x="440" y="243"/>
                    </a:lnTo>
                    <a:lnTo>
                      <a:pt x="326" y="230"/>
                    </a:lnTo>
                    <a:lnTo>
                      <a:pt x="139" y="146"/>
                    </a:lnTo>
                    <a:lnTo>
                      <a:pt x="50" y="80"/>
                    </a:lnTo>
                    <a:lnTo>
                      <a:pt x="107" y="163"/>
                    </a:lnTo>
                    <a:lnTo>
                      <a:pt x="272" y="270"/>
                    </a:lnTo>
                    <a:lnTo>
                      <a:pt x="466" y="296"/>
                    </a:lnTo>
                    <a:lnTo>
                      <a:pt x="489" y="224"/>
                    </a:lnTo>
                    <a:lnTo>
                      <a:pt x="394" y="120"/>
                    </a:lnTo>
                    <a:lnTo>
                      <a:pt x="170" y="17"/>
                    </a:lnTo>
                    <a:lnTo>
                      <a:pt x="0" y="0"/>
                    </a:lnTo>
                    <a:lnTo>
                      <a:pt x="14" y="3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" name="Freeform 28"/>
          <p:cNvSpPr>
            <a:spLocks/>
          </p:cNvSpPr>
          <p:nvPr/>
        </p:nvSpPr>
        <p:spPr bwMode="auto">
          <a:xfrm>
            <a:off x="1202267" y="5054601"/>
            <a:ext cx="9076267" cy="728663"/>
          </a:xfrm>
          <a:custGeom>
            <a:avLst/>
            <a:gdLst>
              <a:gd name="T0" fmla="*/ 0 w 4288"/>
              <a:gd name="T1" fmla="*/ 0 h 459"/>
              <a:gd name="T2" fmla="*/ 2056447500 w 4288"/>
              <a:gd name="T3" fmla="*/ 645160443 h 459"/>
              <a:gd name="T4" fmla="*/ 2147483646 w 4288"/>
              <a:gd name="T5" fmla="*/ 362902749 h 459"/>
              <a:gd name="T6" fmla="*/ 2147483646 w 4288"/>
              <a:gd name="T7" fmla="*/ 947579400 h 459"/>
              <a:gd name="T8" fmla="*/ 2147483646 w 4288"/>
              <a:gd name="T9" fmla="*/ 383064013 h 459"/>
              <a:gd name="T10" fmla="*/ 2147483646 w 4288"/>
              <a:gd name="T11" fmla="*/ 1149192039 h 459"/>
              <a:gd name="T12" fmla="*/ 2147483646 w 4288"/>
              <a:gd name="T13" fmla="*/ 342741485 h 45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288" h="459">
                <a:moveTo>
                  <a:pt x="0" y="0"/>
                </a:moveTo>
                <a:cubicBezTo>
                  <a:pt x="136" y="43"/>
                  <a:pt x="556" y="232"/>
                  <a:pt x="816" y="256"/>
                </a:cubicBezTo>
                <a:cubicBezTo>
                  <a:pt x="1076" y="280"/>
                  <a:pt x="1387" y="124"/>
                  <a:pt x="1560" y="144"/>
                </a:cubicBezTo>
                <a:cubicBezTo>
                  <a:pt x="1733" y="164"/>
                  <a:pt x="1725" y="375"/>
                  <a:pt x="1856" y="376"/>
                </a:cubicBezTo>
                <a:cubicBezTo>
                  <a:pt x="1987" y="377"/>
                  <a:pt x="2064" y="139"/>
                  <a:pt x="2344" y="152"/>
                </a:cubicBezTo>
                <a:cubicBezTo>
                  <a:pt x="2624" y="165"/>
                  <a:pt x="3212" y="459"/>
                  <a:pt x="3536" y="456"/>
                </a:cubicBezTo>
                <a:cubicBezTo>
                  <a:pt x="3860" y="453"/>
                  <a:pt x="4165" y="188"/>
                  <a:pt x="4288" y="136"/>
                </a:cubicBezTo>
              </a:path>
            </a:pathLst>
          </a:custGeom>
          <a:noFill/>
          <a:ln w="76200" cap="flat" cmpd="sng">
            <a:solidFill>
              <a:schemeClr val="folHlink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6" name="Freeform 29"/>
          <p:cNvSpPr>
            <a:spLocks/>
          </p:cNvSpPr>
          <p:nvPr/>
        </p:nvSpPr>
        <p:spPr bwMode="auto">
          <a:xfrm>
            <a:off x="5435600" y="1930400"/>
            <a:ext cx="1185333" cy="381000"/>
          </a:xfrm>
          <a:custGeom>
            <a:avLst/>
            <a:gdLst>
              <a:gd name="T0" fmla="*/ 0 w 560"/>
              <a:gd name="T1" fmla="*/ 80645000 h 240"/>
              <a:gd name="T2" fmla="*/ 705643750 w 560"/>
              <a:gd name="T3" fmla="*/ 362902500 h 240"/>
              <a:gd name="T4" fmla="*/ 1129030000 w 560"/>
              <a:gd name="T5" fmla="*/ 40322500 h 240"/>
              <a:gd name="T6" fmla="*/ 1411287500 w 560"/>
              <a:gd name="T7" fmla="*/ 604837500 h 24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60" h="240">
                <a:moveTo>
                  <a:pt x="0" y="32"/>
                </a:moveTo>
                <a:cubicBezTo>
                  <a:pt x="102" y="89"/>
                  <a:pt x="205" y="147"/>
                  <a:pt x="280" y="144"/>
                </a:cubicBezTo>
                <a:cubicBezTo>
                  <a:pt x="355" y="141"/>
                  <a:pt x="401" y="0"/>
                  <a:pt x="448" y="16"/>
                </a:cubicBezTo>
                <a:cubicBezTo>
                  <a:pt x="495" y="32"/>
                  <a:pt x="541" y="201"/>
                  <a:pt x="560" y="240"/>
                </a:cubicBezTo>
              </a:path>
            </a:pathLst>
          </a:custGeom>
          <a:noFill/>
          <a:ln w="11430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828800" y="1511300"/>
            <a:ext cx="8534400" cy="2273300"/>
          </a:xfrm>
          <a:effectLst>
            <a:outerShdw dist="45791" dir="2021404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3300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198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065867" y="4051300"/>
            <a:ext cx="8043333" cy="1003300"/>
          </a:xfrm>
        </p:spPr>
        <p:txBody>
          <a:bodyPr/>
          <a:lstStyle>
            <a:lvl1pPr marL="0" indent="0" algn="ctr">
              <a:buFontTx/>
              <a:buNone/>
              <a:defRPr sz="2800"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7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8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9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89D060-A254-49B7-998B-A105D09B953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5190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F78286-7EEF-4CE2-8950-E0927952E3C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0606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A4D79-1F90-4000-B8DE-294B76501DF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4543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828800"/>
            <a:ext cx="502920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828800"/>
            <a:ext cx="502920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A81874-B5B4-4E63-8504-6288431F3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0904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AD8D86-FD34-4182-B4AA-C216E00F4A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9993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57EB9D-9091-4BA8-8478-0C59E0A24BF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5177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822356-19B6-4F7C-8EAA-26D6317812D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8924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813910-B815-4C8E-A286-6891507DAA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7512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B2072-2709-4DF2-8FE6-B6CD78604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EE1F00-C034-4B2D-859B-A1456032D1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8C1BDF-CDD0-409E-B71F-D5A8CFCBA0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7AF40C-F1F8-4BD3-8992-2CED48280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08AB25-659D-44BF-9B0D-75C2D38CE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2579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CFFF3D-91AA-49D5-BF22-062B26B3469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7325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E07F8B-7464-4DED-8254-4FBCBEB5ACB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5975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0600" y="152400"/>
            <a:ext cx="2565400" cy="5334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152400"/>
            <a:ext cx="7493000" cy="5334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3FEBE6-C6AC-4BE8-A90B-73F12770560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4830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9E875-3787-425C-84D7-423165D1D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04546-0D31-4014-8067-2F609F5C3A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6C3B46-8F72-42BA-9158-60B238527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472C6-9DFF-4D16-A73F-F6180AE14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F5D584-BEF3-4430-8A19-770997807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165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88ADE-994F-4932-B87B-92942403D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DD5CA2-F648-4BBF-A027-8A1A078011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AFE4A0-6D9E-475F-BBAB-97BAA7933A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03BFE0-B12F-4E42-8789-D39E507D1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C8577A-ED01-458E-B4B5-AD6E28DBA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40C07F-74F6-49B9-B33D-F19665CAC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07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30094-A2CB-473B-AC87-AFA1569C2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AFBC3-5B43-40A0-AF1E-32E4CE1EA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B488C7-7F1D-4273-B087-41F5B65914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31064B-2123-4323-8A26-E5930CB3DE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4905C3-AE4F-4A46-97FB-7D46A22158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91DD526-EFE0-44B1-81FA-4C0581F5DB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8BFBFD2-8673-4732-8983-626B4C1C3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404E3C-B6A6-4724-89E2-E57E9AC2D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150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DBD92-C2CF-48F1-9D08-762A65599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4A2FAE-B494-4BD9-A19A-EC2EBA59C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2552D-D4ED-4A0E-8DD8-31442F5A7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105C35-3FD3-4A6E-9994-EE42FEAA8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423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1BDEAE-DB06-4DF4-A2D4-F9E1EF534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AED34-7CC3-42C7-A650-A244B4031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E183A2-DFCF-44B1-8D1E-527709F6A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783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AA0DB-B4BD-44F8-B6C6-D133C810C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44435C-7371-4EBE-93AC-A35CB5AC8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3D256B-2FC6-4770-AB29-FB58F07356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F38B75-C56A-4CB9-8477-F5CDAFFD9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81AA39-18A9-4E2F-B639-1667ADDA9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1F38BA-CFF3-45CE-A91C-DC34323DC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178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5DAF2-5E74-4C70-91D9-5618298D6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2BD079-94BA-4E0A-B1B7-6908C05526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2E2110-95E2-496F-8361-B22C68677F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351B0E-BB1E-43D7-A750-8900DFC097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3D89C8-F7C3-4243-87A6-6AB623394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764438-B92E-4B60-818B-03486970B4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53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BA47D4-2EDA-499A-A169-17E66BFB3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E97D39-65CB-4472-B705-AB96FBB650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2AC7DE-D943-4FF6-BAE0-5BC3C2B993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A0326A-24AD-461A-B1B7-3D530F959E89}" type="datetimeFigureOut">
              <a:rPr lang="en-US" smtClean="0"/>
              <a:t>3/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9EA25E-84A7-4745-BEF6-6564DE2C6E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9993FA-1364-4875-8FD6-B106151582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356BDA-C05D-4B10-9F3A-E625766BF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45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Freeform 2"/>
          <p:cNvSpPr>
            <a:spLocks/>
          </p:cNvSpPr>
          <p:nvPr/>
        </p:nvSpPr>
        <p:spPr bwMode="auto">
          <a:xfrm rot="-3172564">
            <a:off x="10564284" y="-362479"/>
            <a:ext cx="1162050" cy="2779183"/>
          </a:xfrm>
          <a:custGeom>
            <a:avLst/>
            <a:gdLst>
              <a:gd name="T0" fmla="*/ 465160249 w 2903"/>
              <a:gd name="T1" fmla="*/ 138463012 h 3686"/>
              <a:gd name="T2" fmla="*/ 411001033 w 2903"/>
              <a:gd name="T3" fmla="*/ 25582090 h 3686"/>
              <a:gd name="T4" fmla="*/ 359085058 w 2903"/>
              <a:gd name="T5" fmla="*/ 0 h 3686"/>
              <a:gd name="T6" fmla="*/ 17625693 w 2903"/>
              <a:gd name="T7" fmla="*/ 898890480 h 3686"/>
              <a:gd name="T8" fmla="*/ 17625693 w 2903"/>
              <a:gd name="T9" fmla="*/ 1032237527 h 3686"/>
              <a:gd name="T10" fmla="*/ 0 w 2903"/>
              <a:gd name="T11" fmla="*/ 1161107043 h 3686"/>
              <a:gd name="T12" fmla="*/ 11536839 w 2903"/>
              <a:gd name="T13" fmla="*/ 1178694836 h 3686"/>
              <a:gd name="T14" fmla="*/ 70663288 w 2903"/>
              <a:gd name="T15" fmla="*/ 1072849144 h 3686"/>
              <a:gd name="T16" fmla="*/ 118573533 w 2903"/>
              <a:gd name="T17" fmla="*/ 1032237527 h 3686"/>
              <a:gd name="T18" fmla="*/ 465160249 w 2903"/>
              <a:gd name="T19" fmla="*/ 138463012 h 3686"/>
              <a:gd name="T20" fmla="*/ 465160249 w 2903"/>
              <a:gd name="T21" fmla="*/ 138463012 h 368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903" h="3686">
                <a:moveTo>
                  <a:pt x="2903" y="433"/>
                </a:moveTo>
                <a:lnTo>
                  <a:pt x="2565" y="80"/>
                </a:lnTo>
                <a:lnTo>
                  <a:pt x="2241" y="0"/>
                </a:lnTo>
                <a:lnTo>
                  <a:pt x="110" y="2811"/>
                </a:lnTo>
                <a:lnTo>
                  <a:pt x="110" y="3228"/>
                </a:lnTo>
                <a:lnTo>
                  <a:pt x="0" y="3631"/>
                </a:lnTo>
                <a:lnTo>
                  <a:pt x="72" y="3686"/>
                </a:lnTo>
                <a:lnTo>
                  <a:pt x="441" y="3355"/>
                </a:lnTo>
                <a:lnTo>
                  <a:pt x="740" y="3228"/>
                </a:lnTo>
                <a:lnTo>
                  <a:pt x="2903" y="43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152400"/>
            <a:ext cx="9160933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828800"/>
            <a:ext cx="1026160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828800" y="6248400"/>
            <a:ext cx="2540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09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41333" y="6248400"/>
            <a:ext cx="3860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096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57733" y="6248400"/>
            <a:ext cx="2540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B70F8DC-2AA4-4310-9BA3-D93F12361ABF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2" name="Freeform 8"/>
          <p:cNvSpPr>
            <a:spLocks/>
          </p:cNvSpPr>
          <p:nvPr/>
        </p:nvSpPr>
        <p:spPr bwMode="auto">
          <a:xfrm rot="-3172564">
            <a:off x="10681230" y="-324907"/>
            <a:ext cx="1165225" cy="2796116"/>
          </a:xfrm>
          <a:custGeom>
            <a:avLst/>
            <a:gdLst>
              <a:gd name="T0" fmla="*/ 367400126 w 2911"/>
              <a:gd name="T1" fmla="*/ 0 h 3703"/>
              <a:gd name="T2" fmla="*/ 20829548 w 2911"/>
              <a:gd name="T3" fmla="*/ 909239838 h 3703"/>
              <a:gd name="T4" fmla="*/ 20989661 w 2911"/>
              <a:gd name="T5" fmla="*/ 1026623476 h 3703"/>
              <a:gd name="T6" fmla="*/ 0 w 2911"/>
              <a:gd name="T7" fmla="*/ 1165174497 h 3703"/>
              <a:gd name="T8" fmla="*/ 8011272 w 2911"/>
              <a:gd name="T9" fmla="*/ 1187624598 h 3703"/>
              <a:gd name="T10" fmla="*/ 67615873 w 2911"/>
              <a:gd name="T11" fmla="*/ 1075051858 h 3703"/>
              <a:gd name="T12" fmla="*/ 122252957 w 2911"/>
              <a:gd name="T13" fmla="*/ 1032717091 h 3703"/>
              <a:gd name="T14" fmla="*/ 466420234 w 2911"/>
              <a:gd name="T15" fmla="*/ 137267738 h 3703"/>
              <a:gd name="T16" fmla="*/ 414827305 w 2911"/>
              <a:gd name="T17" fmla="*/ 30789179 h 3703"/>
              <a:gd name="T18" fmla="*/ 367400126 w 2911"/>
              <a:gd name="T19" fmla="*/ 0 h 3703"/>
              <a:gd name="T20" fmla="*/ 367400126 w 2911"/>
              <a:gd name="T21" fmla="*/ 0 h 370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911" h="3703">
                <a:moveTo>
                  <a:pt x="2293" y="0"/>
                </a:moveTo>
                <a:lnTo>
                  <a:pt x="130" y="2835"/>
                </a:lnTo>
                <a:lnTo>
                  <a:pt x="131" y="3201"/>
                </a:lnTo>
                <a:lnTo>
                  <a:pt x="0" y="3633"/>
                </a:lnTo>
                <a:lnTo>
                  <a:pt x="50" y="3703"/>
                </a:lnTo>
                <a:lnTo>
                  <a:pt x="422" y="3352"/>
                </a:lnTo>
                <a:lnTo>
                  <a:pt x="763" y="3220"/>
                </a:lnTo>
                <a:lnTo>
                  <a:pt x="2911" y="428"/>
                </a:lnTo>
                <a:lnTo>
                  <a:pt x="2589" y="96"/>
                </a:lnTo>
                <a:lnTo>
                  <a:pt x="2293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 rot="-3172564">
            <a:off x="10612439" y="-69849"/>
            <a:ext cx="1025525" cy="2095500"/>
          </a:xfrm>
          <a:custGeom>
            <a:avLst/>
            <a:gdLst>
              <a:gd name="T0" fmla="*/ 0 w 2561"/>
              <a:gd name="T1" fmla="*/ 795925910 h 2777"/>
              <a:gd name="T2" fmla="*/ 69271991 w 2561"/>
              <a:gd name="T3" fmla="*/ 817705678 h 2777"/>
              <a:gd name="T4" fmla="*/ 118018666 w 2561"/>
              <a:gd name="T5" fmla="*/ 889450897 h 2777"/>
              <a:gd name="T6" fmla="*/ 410660494 w 2561"/>
              <a:gd name="T7" fmla="*/ 127796260 h 2777"/>
              <a:gd name="T8" fmla="*/ 339624568 w 2561"/>
              <a:gd name="T9" fmla="*/ 26263738 h 2777"/>
              <a:gd name="T10" fmla="*/ 304347469 w 2561"/>
              <a:gd name="T11" fmla="*/ 0 h 2777"/>
              <a:gd name="T12" fmla="*/ 0 w 2561"/>
              <a:gd name="T13" fmla="*/ 795925910 h 2777"/>
              <a:gd name="T14" fmla="*/ 0 w 2561"/>
              <a:gd name="T15" fmla="*/ 795925910 h 277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561" h="2777">
                <a:moveTo>
                  <a:pt x="0" y="2485"/>
                </a:moveTo>
                <a:lnTo>
                  <a:pt x="432" y="2553"/>
                </a:lnTo>
                <a:lnTo>
                  <a:pt x="736" y="2777"/>
                </a:lnTo>
                <a:lnTo>
                  <a:pt x="2561" y="399"/>
                </a:lnTo>
                <a:lnTo>
                  <a:pt x="2118" y="82"/>
                </a:lnTo>
                <a:lnTo>
                  <a:pt x="1898" y="0"/>
                </a:lnTo>
                <a:lnTo>
                  <a:pt x="0" y="24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</a:endParaRPr>
          </a:p>
        </p:txBody>
      </p:sp>
      <p:grpSp>
        <p:nvGrpSpPr>
          <p:cNvPr id="1034" name="Group 10"/>
          <p:cNvGrpSpPr>
            <a:grpSpLocks/>
          </p:cNvGrpSpPr>
          <p:nvPr/>
        </p:nvGrpSpPr>
        <p:grpSpPr bwMode="auto">
          <a:xfrm>
            <a:off x="10584" y="5540375"/>
            <a:ext cx="2379133" cy="1246188"/>
            <a:chOff x="5" y="3490"/>
            <a:chExt cx="1124" cy="785"/>
          </a:xfrm>
        </p:grpSpPr>
        <p:sp>
          <p:nvSpPr>
            <p:cNvPr id="1051" name="Freeform 11"/>
            <p:cNvSpPr>
              <a:spLocks/>
            </p:cNvSpPr>
            <p:nvPr userDrawn="1"/>
          </p:nvSpPr>
          <p:spPr bwMode="auto">
            <a:xfrm>
              <a:off x="24" y="3505"/>
              <a:ext cx="1089" cy="649"/>
            </a:xfrm>
            <a:custGeom>
              <a:avLst/>
              <a:gdLst>
                <a:gd name="T0" fmla="*/ 397 w 2177"/>
                <a:gd name="T1" fmla="*/ 315 h 1298"/>
                <a:gd name="T2" fmla="*/ 355 w 2177"/>
                <a:gd name="T3" fmla="*/ 277 h 1298"/>
                <a:gd name="T4" fmla="*/ 333 w 2177"/>
                <a:gd name="T5" fmla="*/ 120 h 1298"/>
                <a:gd name="T6" fmla="*/ 535 w 2177"/>
                <a:gd name="T7" fmla="*/ 83 h 1298"/>
                <a:gd name="T8" fmla="*/ 545 w 2177"/>
                <a:gd name="T9" fmla="*/ 51 h 1298"/>
                <a:gd name="T10" fmla="*/ 525 w 2177"/>
                <a:gd name="T11" fmla="*/ 25 h 1298"/>
                <a:gd name="T12" fmla="*/ 319 w 2177"/>
                <a:gd name="T13" fmla="*/ 53 h 1298"/>
                <a:gd name="T14" fmla="*/ 305 w 2177"/>
                <a:gd name="T15" fmla="*/ 8 h 1298"/>
                <a:gd name="T16" fmla="*/ 272 w 2177"/>
                <a:gd name="T17" fmla="*/ 0 h 1298"/>
                <a:gd name="T18" fmla="*/ 240 w 2177"/>
                <a:gd name="T19" fmla="*/ 7 h 1298"/>
                <a:gd name="T20" fmla="*/ 222 w 2177"/>
                <a:gd name="T21" fmla="*/ 27 h 1298"/>
                <a:gd name="T22" fmla="*/ 235 w 2177"/>
                <a:gd name="T23" fmla="*/ 72 h 1298"/>
                <a:gd name="T24" fmla="*/ 165 w 2177"/>
                <a:gd name="T25" fmla="*/ 111 h 1298"/>
                <a:gd name="T26" fmla="*/ 246 w 2177"/>
                <a:gd name="T27" fmla="*/ 119 h 1298"/>
                <a:gd name="T28" fmla="*/ 278 w 2177"/>
                <a:gd name="T29" fmla="*/ 223 h 1298"/>
                <a:gd name="T30" fmla="*/ 36 w 2177"/>
                <a:gd name="T31" fmla="*/ 118 h 1298"/>
                <a:gd name="T32" fmla="*/ 12 w 2177"/>
                <a:gd name="T33" fmla="*/ 128 h 1298"/>
                <a:gd name="T34" fmla="*/ 0 w 2177"/>
                <a:gd name="T35" fmla="*/ 159 h 1298"/>
                <a:gd name="T36" fmla="*/ 14 w 2177"/>
                <a:gd name="T37" fmla="*/ 195 h 1298"/>
                <a:gd name="T38" fmla="*/ 285 w 2177"/>
                <a:gd name="T39" fmla="*/ 322 h 1298"/>
                <a:gd name="T40" fmla="*/ 345 w 2177"/>
                <a:gd name="T41" fmla="*/ 314 h 1298"/>
                <a:gd name="T42" fmla="*/ 393 w 2177"/>
                <a:gd name="T43" fmla="*/ 325 h 1298"/>
                <a:gd name="T44" fmla="*/ 397 w 2177"/>
                <a:gd name="T45" fmla="*/ 315 h 1298"/>
                <a:gd name="T46" fmla="*/ 397 w 2177"/>
                <a:gd name="T47" fmla="*/ 315 h 129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77" h="1298">
                  <a:moveTo>
                    <a:pt x="1587" y="1260"/>
                  </a:moveTo>
                  <a:lnTo>
                    <a:pt x="1420" y="1106"/>
                  </a:lnTo>
                  <a:lnTo>
                    <a:pt x="1331" y="477"/>
                  </a:lnTo>
                  <a:lnTo>
                    <a:pt x="2139" y="330"/>
                  </a:lnTo>
                  <a:lnTo>
                    <a:pt x="2177" y="203"/>
                  </a:lnTo>
                  <a:lnTo>
                    <a:pt x="2099" y="100"/>
                  </a:lnTo>
                  <a:lnTo>
                    <a:pt x="1276" y="211"/>
                  </a:lnTo>
                  <a:lnTo>
                    <a:pt x="1219" y="32"/>
                  </a:lnTo>
                  <a:lnTo>
                    <a:pt x="1085" y="0"/>
                  </a:lnTo>
                  <a:lnTo>
                    <a:pt x="958" y="28"/>
                  </a:lnTo>
                  <a:lnTo>
                    <a:pt x="888" y="106"/>
                  </a:lnTo>
                  <a:lnTo>
                    <a:pt x="937" y="285"/>
                  </a:lnTo>
                  <a:lnTo>
                    <a:pt x="660" y="441"/>
                  </a:lnTo>
                  <a:lnTo>
                    <a:pt x="983" y="473"/>
                  </a:lnTo>
                  <a:lnTo>
                    <a:pt x="1112" y="889"/>
                  </a:lnTo>
                  <a:lnTo>
                    <a:pt x="141" y="469"/>
                  </a:lnTo>
                  <a:lnTo>
                    <a:pt x="46" y="509"/>
                  </a:lnTo>
                  <a:lnTo>
                    <a:pt x="0" y="636"/>
                  </a:lnTo>
                  <a:lnTo>
                    <a:pt x="55" y="779"/>
                  </a:lnTo>
                  <a:lnTo>
                    <a:pt x="1139" y="1288"/>
                  </a:lnTo>
                  <a:lnTo>
                    <a:pt x="1378" y="1256"/>
                  </a:lnTo>
                  <a:lnTo>
                    <a:pt x="1570" y="1298"/>
                  </a:lnTo>
                  <a:lnTo>
                    <a:pt x="1587" y="1260"/>
                  </a:lnTo>
                  <a:close/>
                </a:path>
              </a:pathLst>
            </a:custGeom>
            <a:solidFill>
              <a:srgbClr val="F8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52" name="Freeform 12"/>
            <p:cNvSpPr>
              <a:spLocks/>
            </p:cNvSpPr>
            <p:nvPr userDrawn="1"/>
          </p:nvSpPr>
          <p:spPr bwMode="auto">
            <a:xfrm>
              <a:off x="1022" y="3582"/>
              <a:ext cx="71" cy="129"/>
            </a:xfrm>
            <a:custGeom>
              <a:avLst/>
              <a:gdLst>
                <a:gd name="T0" fmla="*/ 0 w 143"/>
                <a:gd name="T1" fmla="*/ 2 h 258"/>
                <a:gd name="T2" fmla="*/ 30 w 143"/>
                <a:gd name="T3" fmla="*/ 0 h 258"/>
                <a:gd name="T4" fmla="*/ 35 w 143"/>
                <a:gd name="T5" fmla="*/ 59 h 258"/>
                <a:gd name="T6" fmla="*/ 2 w 143"/>
                <a:gd name="T7" fmla="*/ 65 h 258"/>
                <a:gd name="T8" fmla="*/ 0 w 143"/>
                <a:gd name="T9" fmla="*/ 2 h 258"/>
                <a:gd name="T10" fmla="*/ 0 w 143"/>
                <a:gd name="T11" fmla="*/ 2 h 2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3" h="258">
                  <a:moveTo>
                    <a:pt x="0" y="7"/>
                  </a:moveTo>
                  <a:lnTo>
                    <a:pt x="120" y="0"/>
                  </a:lnTo>
                  <a:lnTo>
                    <a:pt x="143" y="233"/>
                  </a:lnTo>
                  <a:lnTo>
                    <a:pt x="8" y="258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53" name="Freeform 13"/>
            <p:cNvSpPr>
              <a:spLocks/>
            </p:cNvSpPr>
            <p:nvPr userDrawn="1"/>
          </p:nvSpPr>
          <p:spPr bwMode="auto">
            <a:xfrm>
              <a:off x="20" y="3774"/>
              <a:ext cx="792" cy="410"/>
            </a:xfrm>
            <a:custGeom>
              <a:avLst/>
              <a:gdLst>
                <a:gd name="T0" fmla="*/ 34 w 1586"/>
                <a:gd name="T1" fmla="*/ 0 h 821"/>
                <a:gd name="T2" fmla="*/ 332 w 1586"/>
                <a:gd name="T3" fmla="*/ 129 h 821"/>
                <a:gd name="T4" fmla="*/ 356 w 1586"/>
                <a:gd name="T5" fmla="*/ 159 h 821"/>
                <a:gd name="T6" fmla="*/ 396 w 1586"/>
                <a:gd name="T7" fmla="*/ 198 h 821"/>
                <a:gd name="T8" fmla="*/ 391 w 1586"/>
                <a:gd name="T9" fmla="*/ 205 h 821"/>
                <a:gd name="T10" fmla="*/ 337 w 1586"/>
                <a:gd name="T11" fmla="*/ 196 h 821"/>
                <a:gd name="T12" fmla="*/ 286 w 1586"/>
                <a:gd name="T13" fmla="*/ 202 h 821"/>
                <a:gd name="T14" fmla="*/ 10 w 1586"/>
                <a:gd name="T15" fmla="*/ 74 h 821"/>
                <a:gd name="T16" fmla="*/ 0 w 1586"/>
                <a:gd name="T17" fmla="*/ 37 h 821"/>
                <a:gd name="T18" fmla="*/ 11 w 1586"/>
                <a:gd name="T19" fmla="*/ 8 h 821"/>
                <a:gd name="T20" fmla="*/ 34 w 1586"/>
                <a:gd name="T21" fmla="*/ 0 h 821"/>
                <a:gd name="T22" fmla="*/ 34 w 1586"/>
                <a:gd name="T23" fmla="*/ 0 h 8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86" h="821">
                  <a:moveTo>
                    <a:pt x="137" y="0"/>
                  </a:moveTo>
                  <a:lnTo>
                    <a:pt x="1331" y="519"/>
                  </a:lnTo>
                  <a:lnTo>
                    <a:pt x="1428" y="638"/>
                  </a:lnTo>
                  <a:lnTo>
                    <a:pt x="1586" y="792"/>
                  </a:lnTo>
                  <a:lnTo>
                    <a:pt x="1565" y="821"/>
                  </a:lnTo>
                  <a:lnTo>
                    <a:pt x="1350" y="787"/>
                  </a:lnTo>
                  <a:lnTo>
                    <a:pt x="1145" y="811"/>
                  </a:lnTo>
                  <a:lnTo>
                    <a:pt x="42" y="298"/>
                  </a:lnTo>
                  <a:lnTo>
                    <a:pt x="0" y="150"/>
                  </a:lnTo>
                  <a:lnTo>
                    <a:pt x="46" y="32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54" name="Freeform 14"/>
            <p:cNvSpPr>
              <a:spLocks/>
            </p:cNvSpPr>
            <p:nvPr userDrawn="1"/>
          </p:nvSpPr>
          <p:spPr bwMode="auto">
            <a:xfrm>
              <a:off x="129" y="3808"/>
              <a:ext cx="525" cy="374"/>
            </a:xfrm>
            <a:custGeom>
              <a:avLst/>
              <a:gdLst>
                <a:gd name="T0" fmla="*/ 0 w 1049"/>
                <a:gd name="T1" fmla="*/ 82 h 747"/>
                <a:gd name="T2" fmla="*/ 231 w 1049"/>
                <a:gd name="T3" fmla="*/ 187 h 747"/>
                <a:gd name="T4" fmla="*/ 235 w 1049"/>
                <a:gd name="T5" fmla="*/ 134 h 747"/>
                <a:gd name="T6" fmla="*/ 263 w 1049"/>
                <a:gd name="T7" fmla="*/ 106 h 747"/>
                <a:gd name="T8" fmla="*/ 20 w 1049"/>
                <a:gd name="T9" fmla="*/ 0 h 747"/>
                <a:gd name="T10" fmla="*/ 0 w 1049"/>
                <a:gd name="T11" fmla="*/ 32 h 747"/>
                <a:gd name="T12" fmla="*/ 0 w 1049"/>
                <a:gd name="T13" fmla="*/ 82 h 747"/>
                <a:gd name="T14" fmla="*/ 0 w 1049"/>
                <a:gd name="T15" fmla="*/ 82 h 7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49" h="747">
                  <a:moveTo>
                    <a:pt x="0" y="325"/>
                  </a:moveTo>
                  <a:lnTo>
                    <a:pt x="922" y="747"/>
                  </a:lnTo>
                  <a:lnTo>
                    <a:pt x="939" y="534"/>
                  </a:lnTo>
                  <a:lnTo>
                    <a:pt x="1049" y="422"/>
                  </a:lnTo>
                  <a:lnTo>
                    <a:pt x="78" y="0"/>
                  </a:lnTo>
                  <a:lnTo>
                    <a:pt x="0" y="127"/>
                  </a:lnTo>
                  <a:lnTo>
                    <a:pt x="0" y="32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55" name="Freeform 15"/>
            <p:cNvSpPr>
              <a:spLocks/>
            </p:cNvSpPr>
            <p:nvPr userDrawn="1"/>
          </p:nvSpPr>
          <p:spPr bwMode="auto">
            <a:xfrm>
              <a:off x="485" y="3532"/>
              <a:ext cx="135" cy="121"/>
            </a:xfrm>
            <a:custGeom>
              <a:avLst/>
              <a:gdLst>
                <a:gd name="T0" fmla="*/ 0 w 272"/>
                <a:gd name="T1" fmla="*/ 7 h 241"/>
                <a:gd name="T2" fmla="*/ 39 w 272"/>
                <a:gd name="T3" fmla="*/ 0 h 241"/>
                <a:gd name="T4" fmla="*/ 62 w 272"/>
                <a:gd name="T5" fmla="*/ 9 h 241"/>
                <a:gd name="T6" fmla="*/ 67 w 272"/>
                <a:gd name="T7" fmla="*/ 35 h 241"/>
                <a:gd name="T8" fmla="*/ 40 w 272"/>
                <a:gd name="T9" fmla="*/ 37 h 241"/>
                <a:gd name="T10" fmla="*/ 8 w 272"/>
                <a:gd name="T11" fmla="*/ 61 h 241"/>
                <a:gd name="T12" fmla="*/ 0 w 272"/>
                <a:gd name="T13" fmla="*/ 7 h 241"/>
                <a:gd name="T14" fmla="*/ 0 w 272"/>
                <a:gd name="T15" fmla="*/ 7 h 24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72" h="241">
                  <a:moveTo>
                    <a:pt x="0" y="28"/>
                  </a:moveTo>
                  <a:lnTo>
                    <a:pt x="160" y="0"/>
                  </a:lnTo>
                  <a:lnTo>
                    <a:pt x="251" y="36"/>
                  </a:lnTo>
                  <a:lnTo>
                    <a:pt x="272" y="139"/>
                  </a:lnTo>
                  <a:lnTo>
                    <a:pt x="164" y="146"/>
                  </a:lnTo>
                  <a:lnTo>
                    <a:pt x="32" y="241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56" name="Freeform 16"/>
            <p:cNvSpPr>
              <a:spLocks/>
            </p:cNvSpPr>
            <p:nvPr userDrawn="1"/>
          </p:nvSpPr>
          <p:spPr bwMode="auto">
            <a:xfrm>
              <a:off x="641" y="4163"/>
              <a:ext cx="76" cy="112"/>
            </a:xfrm>
            <a:custGeom>
              <a:avLst/>
              <a:gdLst>
                <a:gd name="T0" fmla="*/ 38 w 152"/>
                <a:gd name="T1" fmla="*/ 1 h 224"/>
                <a:gd name="T2" fmla="*/ 38 w 152"/>
                <a:gd name="T3" fmla="*/ 56 h 224"/>
                <a:gd name="T4" fmla="*/ 0 w 152"/>
                <a:gd name="T5" fmla="*/ 2 h 224"/>
                <a:gd name="T6" fmla="*/ 18 w 152"/>
                <a:gd name="T7" fmla="*/ 0 h 224"/>
                <a:gd name="T8" fmla="*/ 38 w 152"/>
                <a:gd name="T9" fmla="*/ 1 h 224"/>
                <a:gd name="T10" fmla="*/ 38 w 152"/>
                <a:gd name="T11" fmla="*/ 1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2" h="224">
                  <a:moveTo>
                    <a:pt x="152" y="4"/>
                  </a:moveTo>
                  <a:lnTo>
                    <a:pt x="152" y="224"/>
                  </a:lnTo>
                  <a:lnTo>
                    <a:pt x="0" y="8"/>
                  </a:lnTo>
                  <a:lnTo>
                    <a:pt x="72" y="0"/>
                  </a:lnTo>
                  <a:lnTo>
                    <a:pt x="152" y="4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57" name="Freeform 17"/>
            <p:cNvSpPr>
              <a:spLocks/>
            </p:cNvSpPr>
            <p:nvPr userDrawn="1"/>
          </p:nvSpPr>
          <p:spPr bwMode="auto">
            <a:xfrm>
              <a:off x="504" y="3607"/>
              <a:ext cx="193" cy="383"/>
            </a:xfrm>
            <a:custGeom>
              <a:avLst/>
              <a:gdLst>
                <a:gd name="T0" fmla="*/ 0 w 386"/>
                <a:gd name="T1" fmla="*/ 20 h 764"/>
                <a:gd name="T2" fmla="*/ 22 w 386"/>
                <a:gd name="T3" fmla="*/ 0 h 764"/>
                <a:gd name="T4" fmla="*/ 58 w 386"/>
                <a:gd name="T5" fmla="*/ 2 h 764"/>
                <a:gd name="T6" fmla="*/ 97 w 386"/>
                <a:gd name="T7" fmla="*/ 192 h 764"/>
                <a:gd name="T8" fmla="*/ 70 w 386"/>
                <a:gd name="T9" fmla="*/ 181 h 764"/>
                <a:gd name="T10" fmla="*/ 38 w 386"/>
                <a:gd name="T11" fmla="*/ 170 h 764"/>
                <a:gd name="T12" fmla="*/ 0 w 386"/>
                <a:gd name="T13" fmla="*/ 20 h 764"/>
                <a:gd name="T14" fmla="*/ 0 w 386"/>
                <a:gd name="T15" fmla="*/ 20 h 76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86" h="764">
                  <a:moveTo>
                    <a:pt x="0" y="80"/>
                  </a:moveTo>
                  <a:lnTo>
                    <a:pt x="87" y="0"/>
                  </a:lnTo>
                  <a:lnTo>
                    <a:pt x="232" y="6"/>
                  </a:lnTo>
                  <a:lnTo>
                    <a:pt x="386" y="764"/>
                  </a:lnTo>
                  <a:lnTo>
                    <a:pt x="279" y="720"/>
                  </a:lnTo>
                  <a:lnTo>
                    <a:pt x="152" y="677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58" name="Freeform 18"/>
            <p:cNvSpPr>
              <a:spLocks/>
            </p:cNvSpPr>
            <p:nvPr userDrawn="1"/>
          </p:nvSpPr>
          <p:spPr bwMode="auto">
            <a:xfrm>
              <a:off x="668" y="3590"/>
              <a:ext cx="364" cy="174"/>
            </a:xfrm>
            <a:custGeom>
              <a:avLst/>
              <a:gdLst>
                <a:gd name="T0" fmla="*/ 173 w 728"/>
                <a:gd name="T1" fmla="*/ 0 h 348"/>
                <a:gd name="T2" fmla="*/ 0 w 728"/>
                <a:gd name="T3" fmla="*/ 27 h 348"/>
                <a:gd name="T4" fmla="*/ 7 w 728"/>
                <a:gd name="T5" fmla="*/ 87 h 348"/>
                <a:gd name="T6" fmla="*/ 179 w 728"/>
                <a:gd name="T7" fmla="*/ 60 h 348"/>
                <a:gd name="T8" fmla="*/ 182 w 728"/>
                <a:gd name="T9" fmla="*/ 11 h 348"/>
                <a:gd name="T10" fmla="*/ 173 w 728"/>
                <a:gd name="T11" fmla="*/ 0 h 348"/>
                <a:gd name="T12" fmla="*/ 173 w 728"/>
                <a:gd name="T13" fmla="*/ 0 h 3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28" h="348">
                  <a:moveTo>
                    <a:pt x="692" y="0"/>
                  </a:moveTo>
                  <a:lnTo>
                    <a:pt x="0" y="106"/>
                  </a:lnTo>
                  <a:lnTo>
                    <a:pt x="28" y="348"/>
                  </a:lnTo>
                  <a:lnTo>
                    <a:pt x="715" y="237"/>
                  </a:lnTo>
                  <a:lnTo>
                    <a:pt x="728" y="43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59" name="Freeform 19"/>
            <p:cNvSpPr>
              <a:spLocks/>
            </p:cNvSpPr>
            <p:nvPr userDrawn="1"/>
          </p:nvSpPr>
          <p:spPr bwMode="auto">
            <a:xfrm>
              <a:off x="347" y="3693"/>
              <a:ext cx="156" cy="67"/>
            </a:xfrm>
            <a:custGeom>
              <a:avLst/>
              <a:gdLst>
                <a:gd name="T0" fmla="*/ 68 w 312"/>
                <a:gd name="T1" fmla="*/ 0 h 135"/>
                <a:gd name="T2" fmla="*/ 0 w 312"/>
                <a:gd name="T3" fmla="*/ 19 h 135"/>
                <a:gd name="T4" fmla="*/ 78 w 312"/>
                <a:gd name="T5" fmla="*/ 33 h 135"/>
                <a:gd name="T6" fmla="*/ 68 w 312"/>
                <a:gd name="T7" fmla="*/ 0 h 135"/>
                <a:gd name="T8" fmla="*/ 68 w 312"/>
                <a:gd name="T9" fmla="*/ 0 h 1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2" h="135">
                  <a:moveTo>
                    <a:pt x="272" y="0"/>
                  </a:moveTo>
                  <a:lnTo>
                    <a:pt x="0" y="78"/>
                  </a:lnTo>
                  <a:lnTo>
                    <a:pt x="312" y="135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grpSp>
          <p:nvGrpSpPr>
            <p:cNvPr id="1060" name="Group 20"/>
            <p:cNvGrpSpPr>
              <a:grpSpLocks/>
            </p:cNvGrpSpPr>
            <p:nvPr userDrawn="1"/>
          </p:nvGrpSpPr>
          <p:grpSpPr bwMode="auto">
            <a:xfrm>
              <a:off x="5" y="3490"/>
              <a:ext cx="1124" cy="780"/>
              <a:chOff x="5" y="3490"/>
              <a:chExt cx="1124" cy="780"/>
            </a:xfrm>
          </p:grpSpPr>
          <p:grpSp>
            <p:nvGrpSpPr>
              <p:cNvPr id="1061" name="Group 21"/>
              <p:cNvGrpSpPr>
                <a:grpSpLocks/>
              </p:cNvGrpSpPr>
              <p:nvPr userDrawn="1"/>
            </p:nvGrpSpPr>
            <p:grpSpPr bwMode="auto">
              <a:xfrm>
                <a:off x="499" y="3562"/>
                <a:ext cx="548" cy="708"/>
                <a:chOff x="499" y="3562"/>
                <a:chExt cx="548" cy="708"/>
              </a:xfrm>
            </p:grpSpPr>
            <p:sp>
              <p:nvSpPr>
                <p:cNvPr id="1074" name="Freeform 22"/>
                <p:cNvSpPr>
                  <a:spLocks/>
                </p:cNvSpPr>
                <p:nvPr userDrawn="1"/>
              </p:nvSpPr>
              <p:spPr bwMode="auto">
                <a:xfrm>
                  <a:off x="499" y="3587"/>
                  <a:ext cx="157" cy="87"/>
                </a:xfrm>
                <a:custGeom>
                  <a:avLst/>
                  <a:gdLst>
                    <a:gd name="T0" fmla="*/ 0 w 313"/>
                    <a:gd name="T1" fmla="*/ 26 h 175"/>
                    <a:gd name="T2" fmla="*/ 29 w 313"/>
                    <a:gd name="T3" fmla="*/ 2 h 175"/>
                    <a:gd name="T4" fmla="*/ 54 w 313"/>
                    <a:gd name="T5" fmla="*/ 0 h 175"/>
                    <a:gd name="T6" fmla="*/ 73 w 313"/>
                    <a:gd name="T7" fmla="*/ 6 h 175"/>
                    <a:gd name="T8" fmla="*/ 79 w 313"/>
                    <a:gd name="T9" fmla="*/ 22 h 175"/>
                    <a:gd name="T10" fmla="*/ 42 w 313"/>
                    <a:gd name="T11" fmla="*/ 16 h 175"/>
                    <a:gd name="T12" fmla="*/ 19 w 313"/>
                    <a:gd name="T13" fmla="*/ 25 h 175"/>
                    <a:gd name="T14" fmla="*/ 4 w 313"/>
                    <a:gd name="T15" fmla="*/ 43 h 175"/>
                    <a:gd name="T16" fmla="*/ 0 w 313"/>
                    <a:gd name="T17" fmla="*/ 26 h 175"/>
                    <a:gd name="T18" fmla="*/ 0 w 313"/>
                    <a:gd name="T19" fmla="*/ 26 h 17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313" h="175">
                      <a:moveTo>
                        <a:pt x="0" y="107"/>
                      </a:moveTo>
                      <a:lnTo>
                        <a:pt x="114" y="10"/>
                      </a:lnTo>
                      <a:lnTo>
                        <a:pt x="213" y="0"/>
                      </a:lnTo>
                      <a:lnTo>
                        <a:pt x="292" y="27"/>
                      </a:lnTo>
                      <a:lnTo>
                        <a:pt x="313" y="91"/>
                      </a:lnTo>
                      <a:lnTo>
                        <a:pt x="167" y="67"/>
                      </a:lnTo>
                      <a:lnTo>
                        <a:pt x="74" y="101"/>
                      </a:lnTo>
                      <a:lnTo>
                        <a:pt x="13" y="175"/>
                      </a:lnTo>
                      <a:lnTo>
                        <a:pt x="0" y="10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5" name="Freeform 23"/>
                <p:cNvSpPr>
                  <a:spLocks/>
                </p:cNvSpPr>
                <p:nvPr userDrawn="1"/>
              </p:nvSpPr>
              <p:spPr bwMode="auto">
                <a:xfrm>
                  <a:off x="636" y="4137"/>
                  <a:ext cx="115" cy="133"/>
                </a:xfrm>
                <a:custGeom>
                  <a:avLst/>
                  <a:gdLst>
                    <a:gd name="T0" fmla="*/ 0 w 230"/>
                    <a:gd name="T1" fmla="*/ 10 h 266"/>
                    <a:gd name="T2" fmla="*/ 40 w 230"/>
                    <a:gd name="T3" fmla="*/ 67 h 266"/>
                    <a:gd name="T4" fmla="*/ 58 w 230"/>
                    <a:gd name="T5" fmla="*/ 63 h 266"/>
                    <a:gd name="T6" fmla="*/ 56 w 230"/>
                    <a:gd name="T7" fmla="*/ 5 h 266"/>
                    <a:gd name="T8" fmla="*/ 42 w 230"/>
                    <a:gd name="T9" fmla="*/ 0 h 266"/>
                    <a:gd name="T10" fmla="*/ 45 w 230"/>
                    <a:gd name="T11" fmla="*/ 50 h 266"/>
                    <a:gd name="T12" fmla="*/ 18 w 230"/>
                    <a:gd name="T13" fmla="*/ 1 h 266"/>
                    <a:gd name="T14" fmla="*/ 0 w 230"/>
                    <a:gd name="T15" fmla="*/ 10 h 266"/>
                    <a:gd name="T16" fmla="*/ 0 w 230"/>
                    <a:gd name="T17" fmla="*/ 10 h 26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30" h="266">
                      <a:moveTo>
                        <a:pt x="0" y="40"/>
                      </a:moveTo>
                      <a:lnTo>
                        <a:pt x="160" y="266"/>
                      </a:lnTo>
                      <a:lnTo>
                        <a:pt x="230" y="251"/>
                      </a:lnTo>
                      <a:lnTo>
                        <a:pt x="223" y="17"/>
                      </a:lnTo>
                      <a:lnTo>
                        <a:pt x="166" y="0"/>
                      </a:lnTo>
                      <a:lnTo>
                        <a:pt x="179" y="197"/>
                      </a:lnTo>
                      <a:lnTo>
                        <a:pt x="71" y="4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6" name="Freeform 24"/>
                <p:cNvSpPr>
                  <a:spLocks/>
                </p:cNvSpPr>
                <p:nvPr userDrawn="1"/>
              </p:nvSpPr>
              <p:spPr bwMode="auto">
                <a:xfrm>
                  <a:off x="1004" y="3562"/>
                  <a:ext cx="43" cy="117"/>
                </a:xfrm>
                <a:custGeom>
                  <a:avLst/>
                  <a:gdLst>
                    <a:gd name="T0" fmla="*/ 0 w 87"/>
                    <a:gd name="T1" fmla="*/ 5 h 234"/>
                    <a:gd name="T2" fmla="*/ 9 w 87"/>
                    <a:gd name="T3" fmla="*/ 24 h 234"/>
                    <a:gd name="T4" fmla="*/ 11 w 87"/>
                    <a:gd name="T5" fmla="*/ 39 h 234"/>
                    <a:gd name="T6" fmla="*/ 6 w 87"/>
                    <a:gd name="T7" fmla="*/ 59 h 234"/>
                    <a:gd name="T8" fmla="*/ 20 w 87"/>
                    <a:gd name="T9" fmla="*/ 55 h 234"/>
                    <a:gd name="T10" fmla="*/ 21 w 87"/>
                    <a:gd name="T11" fmla="*/ 29 h 234"/>
                    <a:gd name="T12" fmla="*/ 11 w 87"/>
                    <a:gd name="T13" fmla="*/ 0 h 234"/>
                    <a:gd name="T14" fmla="*/ 0 w 87"/>
                    <a:gd name="T15" fmla="*/ 5 h 234"/>
                    <a:gd name="T16" fmla="*/ 0 w 87"/>
                    <a:gd name="T17" fmla="*/ 5 h 23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87" h="234">
                      <a:moveTo>
                        <a:pt x="0" y="19"/>
                      </a:moveTo>
                      <a:lnTo>
                        <a:pt x="36" y="93"/>
                      </a:lnTo>
                      <a:lnTo>
                        <a:pt x="44" y="154"/>
                      </a:lnTo>
                      <a:lnTo>
                        <a:pt x="27" y="234"/>
                      </a:lnTo>
                      <a:lnTo>
                        <a:pt x="80" y="220"/>
                      </a:lnTo>
                      <a:lnTo>
                        <a:pt x="87" y="116"/>
                      </a:lnTo>
                      <a:lnTo>
                        <a:pt x="46" y="0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062" name="Freeform 25"/>
              <p:cNvSpPr>
                <a:spLocks/>
              </p:cNvSpPr>
              <p:nvPr userDrawn="1"/>
            </p:nvSpPr>
            <p:spPr bwMode="auto">
              <a:xfrm>
                <a:off x="76" y="3732"/>
                <a:ext cx="595" cy="250"/>
              </a:xfrm>
              <a:custGeom>
                <a:avLst/>
                <a:gdLst>
                  <a:gd name="T0" fmla="*/ 25 w 1190"/>
                  <a:gd name="T1" fmla="*/ 0 h 500"/>
                  <a:gd name="T2" fmla="*/ 298 w 1190"/>
                  <a:gd name="T3" fmla="*/ 123 h 500"/>
                  <a:gd name="T4" fmla="*/ 269 w 1190"/>
                  <a:gd name="T5" fmla="*/ 125 h 500"/>
                  <a:gd name="T6" fmla="*/ 0 w 1190"/>
                  <a:gd name="T7" fmla="*/ 7 h 500"/>
                  <a:gd name="T8" fmla="*/ 25 w 1190"/>
                  <a:gd name="T9" fmla="*/ 0 h 500"/>
                  <a:gd name="T10" fmla="*/ 25 w 1190"/>
                  <a:gd name="T11" fmla="*/ 0 h 5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90" h="500">
                    <a:moveTo>
                      <a:pt x="100" y="0"/>
                    </a:moveTo>
                    <a:lnTo>
                      <a:pt x="1190" y="490"/>
                    </a:lnTo>
                    <a:lnTo>
                      <a:pt x="1076" y="500"/>
                    </a:lnTo>
                    <a:lnTo>
                      <a:pt x="0" y="27"/>
                    </a:lnTo>
                    <a:lnTo>
                      <a:pt x="10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3" name="Freeform 26"/>
              <p:cNvSpPr>
                <a:spLocks/>
              </p:cNvSpPr>
              <p:nvPr userDrawn="1"/>
            </p:nvSpPr>
            <p:spPr bwMode="auto">
              <a:xfrm>
                <a:off x="260" y="3886"/>
                <a:ext cx="244" cy="148"/>
              </a:xfrm>
              <a:custGeom>
                <a:avLst/>
                <a:gdLst>
                  <a:gd name="T0" fmla="*/ 3 w 489"/>
                  <a:gd name="T1" fmla="*/ 9 h 296"/>
                  <a:gd name="T2" fmla="*/ 40 w 489"/>
                  <a:gd name="T3" fmla="*/ 17 h 296"/>
                  <a:gd name="T4" fmla="*/ 81 w 489"/>
                  <a:gd name="T5" fmla="*/ 35 h 296"/>
                  <a:gd name="T6" fmla="*/ 110 w 489"/>
                  <a:gd name="T7" fmla="*/ 61 h 296"/>
                  <a:gd name="T8" fmla="*/ 81 w 489"/>
                  <a:gd name="T9" fmla="*/ 58 h 296"/>
                  <a:gd name="T10" fmla="*/ 34 w 489"/>
                  <a:gd name="T11" fmla="*/ 37 h 296"/>
                  <a:gd name="T12" fmla="*/ 12 w 489"/>
                  <a:gd name="T13" fmla="*/ 20 h 296"/>
                  <a:gd name="T14" fmla="*/ 26 w 489"/>
                  <a:gd name="T15" fmla="*/ 41 h 296"/>
                  <a:gd name="T16" fmla="*/ 68 w 489"/>
                  <a:gd name="T17" fmla="*/ 68 h 296"/>
                  <a:gd name="T18" fmla="*/ 116 w 489"/>
                  <a:gd name="T19" fmla="*/ 74 h 296"/>
                  <a:gd name="T20" fmla="*/ 122 w 489"/>
                  <a:gd name="T21" fmla="*/ 56 h 296"/>
                  <a:gd name="T22" fmla="*/ 98 w 489"/>
                  <a:gd name="T23" fmla="*/ 30 h 296"/>
                  <a:gd name="T24" fmla="*/ 42 w 489"/>
                  <a:gd name="T25" fmla="*/ 5 h 296"/>
                  <a:gd name="T26" fmla="*/ 0 w 489"/>
                  <a:gd name="T27" fmla="*/ 0 h 296"/>
                  <a:gd name="T28" fmla="*/ 3 w 489"/>
                  <a:gd name="T29" fmla="*/ 9 h 296"/>
                  <a:gd name="T30" fmla="*/ 3 w 489"/>
                  <a:gd name="T31" fmla="*/ 9 h 29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89" h="296">
                    <a:moveTo>
                      <a:pt x="14" y="34"/>
                    </a:moveTo>
                    <a:lnTo>
                      <a:pt x="160" y="66"/>
                    </a:lnTo>
                    <a:lnTo>
                      <a:pt x="324" y="137"/>
                    </a:lnTo>
                    <a:lnTo>
                      <a:pt x="440" y="243"/>
                    </a:lnTo>
                    <a:lnTo>
                      <a:pt x="326" y="230"/>
                    </a:lnTo>
                    <a:lnTo>
                      <a:pt x="139" y="146"/>
                    </a:lnTo>
                    <a:lnTo>
                      <a:pt x="50" y="80"/>
                    </a:lnTo>
                    <a:lnTo>
                      <a:pt x="107" y="163"/>
                    </a:lnTo>
                    <a:lnTo>
                      <a:pt x="272" y="270"/>
                    </a:lnTo>
                    <a:lnTo>
                      <a:pt x="466" y="296"/>
                    </a:lnTo>
                    <a:lnTo>
                      <a:pt x="489" y="224"/>
                    </a:lnTo>
                    <a:lnTo>
                      <a:pt x="394" y="120"/>
                    </a:lnTo>
                    <a:lnTo>
                      <a:pt x="170" y="17"/>
                    </a:lnTo>
                    <a:lnTo>
                      <a:pt x="0" y="0"/>
                    </a:lnTo>
                    <a:lnTo>
                      <a:pt x="14" y="3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4" name="Freeform 27"/>
              <p:cNvSpPr>
                <a:spLocks/>
              </p:cNvSpPr>
              <p:nvPr userDrawn="1"/>
            </p:nvSpPr>
            <p:spPr bwMode="auto">
              <a:xfrm>
                <a:off x="565" y="3680"/>
                <a:ext cx="107" cy="238"/>
              </a:xfrm>
              <a:custGeom>
                <a:avLst/>
                <a:gdLst>
                  <a:gd name="T0" fmla="*/ 6 w 213"/>
                  <a:gd name="T1" fmla="*/ 0 h 478"/>
                  <a:gd name="T2" fmla="*/ 23 w 213"/>
                  <a:gd name="T3" fmla="*/ 6 h 478"/>
                  <a:gd name="T4" fmla="*/ 20 w 213"/>
                  <a:gd name="T5" fmla="*/ 48 h 478"/>
                  <a:gd name="T6" fmla="*/ 27 w 213"/>
                  <a:gd name="T7" fmla="*/ 81 h 478"/>
                  <a:gd name="T8" fmla="*/ 54 w 213"/>
                  <a:gd name="T9" fmla="*/ 112 h 478"/>
                  <a:gd name="T10" fmla="*/ 25 w 213"/>
                  <a:gd name="T11" fmla="*/ 119 h 478"/>
                  <a:gd name="T12" fmla="*/ 8 w 213"/>
                  <a:gd name="T13" fmla="*/ 85 h 478"/>
                  <a:gd name="T14" fmla="*/ 0 w 213"/>
                  <a:gd name="T15" fmla="*/ 14 h 478"/>
                  <a:gd name="T16" fmla="*/ 6 w 213"/>
                  <a:gd name="T17" fmla="*/ 0 h 478"/>
                  <a:gd name="T18" fmla="*/ 6 w 213"/>
                  <a:gd name="T19" fmla="*/ 0 h 47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13" h="478">
                    <a:moveTo>
                      <a:pt x="24" y="0"/>
                    </a:moveTo>
                    <a:lnTo>
                      <a:pt x="91" y="25"/>
                    </a:lnTo>
                    <a:lnTo>
                      <a:pt x="80" y="192"/>
                    </a:lnTo>
                    <a:lnTo>
                      <a:pt x="106" y="327"/>
                    </a:lnTo>
                    <a:lnTo>
                      <a:pt x="213" y="451"/>
                    </a:lnTo>
                    <a:lnTo>
                      <a:pt x="97" y="478"/>
                    </a:lnTo>
                    <a:lnTo>
                      <a:pt x="30" y="344"/>
                    </a:lnTo>
                    <a:lnTo>
                      <a:pt x="0" y="57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65" name="Group 28"/>
              <p:cNvGrpSpPr>
                <a:grpSpLocks/>
              </p:cNvGrpSpPr>
              <p:nvPr userDrawn="1"/>
            </p:nvGrpSpPr>
            <p:grpSpPr bwMode="auto">
              <a:xfrm>
                <a:off x="5" y="3490"/>
                <a:ext cx="1124" cy="678"/>
                <a:chOff x="5" y="3490"/>
                <a:chExt cx="1124" cy="678"/>
              </a:xfrm>
            </p:grpSpPr>
            <p:sp>
              <p:nvSpPr>
                <p:cNvPr id="1066" name="Freeform 29"/>
                <p:cNvSpPr>
                  <a:spLocks/>
                </p:cNvSpPr>
                <p:nvPr userDrawn="1"/>
              </p:nvSpPr>
              <p:spPr bwMode="auto">
                <a:xfrm>
                  <a:off x="669" y="4048"/>
                  <a:ext cx="75" cy="87"/>
                </a:xfrm>
                <a:custGeom>
                  <a:avLst/>
                  <a:gdLst>
                    <a:gd name="T0" fmla="*/ 28 w 150"/>
                    <a:gd name="T1" fmla="*/ 0 h 173"/>
                    <a:gd name="T2" fmla="*/ 10 w 150"/>
                    <a:gd name="T3" fmla="*/ 17 h 173"/>
                    <a:gd name="T4" fmla="*/ 0 w 150"/>
                    <a:gd name="T5" fmla="*/ 44 h 173"/>
                    <a:gd name="T6" fmla="*/ 20 w 150"/>
                    <a:gd name="T7" fmla="*/ 40 h 173"/>
                    <a:gd name="T8" fmla="*/ 26 w 150"/>
                    <a:gd name="T9" fmla="*/ 21 h 173"/>
                    <a:gd name="T10" fmla="*/ 38 w 150"/>
                    <a:gd name="T11" fmla="*/ 7 h 173"/>
                    <a:gd name="T12" fmla="*/ 28 w 150"/>
                    <a:gd name="T13" fmla="*/ 0 h 173"/>
                    <a:gd name="T14" fmla="*/ 28 w 150"/>
                    <a:gd name="T15" fmla="*/ 0 h 17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0" h="173">
                      <a:moveTo>
                        <a:pt x="110" y="0"/>
                      </a:moveTo>
                      <a:lnTo>
                        <a:pt x="40" y="66"/>
                      </a:lnTo>
                      <a:lnTo>
                        <a:pt x="0" y="173"/>
                      </a:lnTo>
                      <a:lnTo>
                        <a:pt x="80" y="160"/>
                      </a:lnTo>
                      <a:lnTo>
                        <a:pt x="103" y="84"/>
                      </a:lnTo>
                      <a:lnTo>
                        <a:pt x="150" y="27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7" name="Freeform 30"/>
                <p:cNvSpPr>
                  <a:spLocks/>
                </p:cNvSpPr>
                <p:nvPr userDrawn="1"/>
              </p:nvSpPr>
              <p:spPr bwMode="auto">
                <a:xfrm>
                  <a:off x="5" y="3728"/>
                  <a:ext cx="842" cy="440"/>
                </a:xfrm>
                <a:custGeom>
                  <a:avLst/>
                  <a:gdLst>
                    <a:gd name="T0" fmla="*/ 39 w 1684"/>
                    <a:gd name="T1" fmla="*/ 0 h 880"/>
                    <a:gd name="T2" fmla="*/ 16 w 1684"/>
                    <a:gd name="T3" fmla="*/ 13 h 880"/>
                    <a:gd name="T4" fmla="*/ 0 w 1684"/>
                    <a:gd name="T5" fmla="*/ 52 h 880"/>
                    <a:gd name="T6" fmla="*/ 17 w 1684"/>
                    <a:gd name="T7" fmla="*/ 90 h 880"/>
                    <a:gd name="T8" fmla="*/ 296 w 1684"/>
                    <a:gd name="T9" fmla="*/ 217 h 880"/>
                    <a:gd name="T10" fmla="*/ 356 w 1684"/>
                    <a:gd name="T11" fmla="*/ 209 h 880"/>
                    <a:gd name="T12" fmla="*/ 404 w 1684"/>
                    <a:gd name="T13" fmla="*/ 220 h 880"/>
                    <a:gd name="T14" fmla="*/ 421 w 1684"/>
                    <a:gd name="T15" fmla="*/ 202 h 880"/>
                    <a:gd name="T16" fmla="*/ 376 w 1684"/>
                    <a:gd name="T17" fmla="*/ 166 h 880"/>
                    <a:gd name="T18" fmla="*/ 357 w 1684"/>
                    <a:gd name="T19" fmla="*/ 128 h 880"/>
                    <a:gd name="T20" fmla="*/ 343 w 1684"/>
                    <a:gd name="T21" fmla="*/ 132 h 880"/>
                    <a:gd name="T22" fmla="*/ 360 w 1684"/>
                    <a:gd name="T23" fmla="*/ 166 h 880"/>
                    <a:gd name="T24" fmla="*/ 395 w 1684"/>
                    <a:gd name="T25" fmla="*/ 203 h 880"/>
                    <a:gd name="T26" fmla="*/ 354 w 1684"/>
                    <a:gd name="T27" fmla="*/ 197 h 880"/>
                    <a:gd name="T28" fmla="*/ 305 w 1684"/>
                    <a:gd name="T29" fmla="*/ 204 h 880"/>
                    <a:gd name="T30" fmla="*/ 314 w 1684"/>
                    <a:gd name="T31" fmla="*/ 163 h 880"/>
                    <a:gd name="T32" fmla="*/ 335 w 1684"/>
                    <a:gd name="T33" fmla="*/ 135 h 880"/>
                    <a:gd name="T34" fmla="*/ 311 w 1684"/>
                    <a:gd name="T35" fmla="*/ 138 h 880"/>
                    <a:gd name="T36" fmla="*/ 292 w 1684"/>
                    <a:gd name="T37" fmla="*/ 165 h 880"/>
                    <a:gd name="T38" fmla="*/ 285 w 1684"/>
                    <a:gd name="T39" fmla="*/ 198 h 880"/>
                    <a:gd name="T40" fmla="*/ 27 w 1684"/>
                    <a:gd name="T41" fmla="*/ 78 h 880"/>
                    <a:gd name="T42" fmla="*/ 20 w 1684"/>
                    <a:gd name="T43" fmla="*/ 54 h 880"/>
                    <a:gd name="T44" fmla="*/ 26 w 1684"/>
                    <a:gd name="T45" fmla="*/ 24 h 880"/>
                    <a:gd name="T46" fmla="*/ 55 w 1684"/>
                    <a:gd name="T47" fmla="*/ 0 h 880"/>
                    <a:gd name="T48" fmla="*/ 39 w 1684"/>
                    <a:gd name="T49" fmla="*/ 0 h 880"/>
                    <a:gd name="T50" fmla="*/ 39 w 1684"/>
                    <a:gd name="T51" fmla="*/ 0 h 8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1684" h="880">
                      <a:moveTo>
                        <a:pt x="156" y="0"/>
                      </a:moveTo>
                      <a:lnTo>
                        <a:pt x="63" y="52"/>
                      </a:lnTo>
                      <a:lnTo>
                        <a:pt x="0" y="208"/>
                      </a:lnTo>
                      <a:lnTo>
                        <a:pt x="67" y="358"/>
                      </a:lnTo>
                      <a:lnTo>
                        <a:pt x="1182" y="867"/>
                      </a:lnTo>
                      <a:lnTo>
                        <a:pt x="1422" y="835"/>
                      </a:lnTo>
                      <a:lnTo>
                        <a:pt x="1616" y="880"/>
                      </a:lnTo>
                      <a:lnTo>
                        <a:pt x="1684" y="808"/>
                      </a:lnTo>
                      <a:lnTo>
                        <a:pt x="1502" y="664"/>
                      </a:lnTo>
                      <a:lnTo>
                        <a:pt x="1428" y="512"/>
                      </a:lnTo>
                      <a:lnTo>
                        <a:pt x="1369" y="527"/>
                      </a:lnTo>
                      <a:lnTo>
                        <a:pt x="1439" y="664"/>
                      </a:lnTo>
                      <a:lnTo>
                        <a:pt x="1578" y="810"/>
                      </a:lnTo>
                      <a:lnTo>
                        <a:pt x="1413" y="787"/>
                      </a:lnTo>
                      <a:lnTo>
                        <a:pt x="1219" y="814"/>
                      </a:lnTo>
                      <a:lnTo>
                        <a:pt x="1255" y="650"/>
                      </a:lnTo>
                      <a:lnTo>
                        <a:pt x="1338" y="538"/>
                      </a:lnTo>
                      <a:lnTo>
                        <a:pt x="1241" y="552"/>
                      </a:lnTo>
                      <a:lnTo>
                        <a:pt x="1165" y="658"/>
                      </a:lnTo>
                      <a:lnTo>
                        <a:pt x="1139" y="791"/>
                      </a:lnTo>
                      <a:lnTo>
                        <a:pt x="107" y="310"/>
                      </a:lnTo>
                      <a:lnTo>
                        <a:pt x="80" y="215"/>
                      </a:lnTo>
                      <a:lnTo>
                        <a:pt x="103" y="95"/>
                      </a:lnTo>
                      <a:lnTo>
                        <a:pt x="217" y="0"/>
                      </a:lnTo>
                      <a:lnTo>
                        <a:pt x="156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8" name="Freeform 31"/>
                <p:cNvSpPr>
                  <a:spLocks/>
                </p:cNvSpPr>
                <p:nvPr userDrawn="1"/>
              </p:nvSpPr>
              <p:spPr bwMode="auto">
                <a:xfrm>
                  <a:off x="106" y="3770"/>
                  <a:ext cx="80" cy="167"/>
                </a:xfrm>
                <a:custGeom>
                  <a:avLst/>
                  <a:gdLst>
                    <a:gd name="T0" fmla="*/ 29 w 160"/>
                    <a:gd name="T1" fmla="*/ 0 h 335"/>
                    <a:gd name="T2" fmla="*/ 5 w 160"/>
                    <a:gd name="T3" fmla="*/ 26 h 335"/>
                    <a:gd name="T4" fmla="*/ 0 w 160"/>
                    <a:gd name="T5" fmla="*/ 57 h 335"/>
                    <a:gd name="T6" fmla="*/ 9 w 160"/>
                    <a:gd name="T7" fmla="*/ 78 h 335"/>
                    <a:gd name="T8" fmla="*/ 24 w 160"/>
                    <a:gd name="T9" fmla="*/ 83 h 335"/>
                    <a:gd name="T10" fmla="*/ 19 w 160"/>
                    <a:gd name="T11" fmla="*/ 38 h 335"/>
                    <a:gd name="T12" fmla="*/ 40 w 160"/>
                    <a:gd name="T13" fmla="*/ 4 h 335"/>
                    <a:gd name="T14" fmla="*/ 29 w 160"/>
                    <a:gd name="T15" fmla="*/ 0 h 335"/>
                    <a:gd name="T16" fmla="*/ 29 w 160"/>
                    <a:gd name="T17" fmla="*/ 0 h 3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60" h="335">
                      <a:moveTo>
                        <a:pt x="116" y="0"/>
                      </a:moveTo>
                      <a:lnTo>
                        <a:pt x="19" y="106"/>
                      </a:lnTo>
                      <a:lnTo>
                        <a:pt x="0" y="230"/>
                      </a:lnTo>
                      <a:lnTo>
                        <a:pt x="33" y="314"/>
                      </a:lnTo>
                      <a:lnTo>
                        <a:pt x="94" y="335"/>
                      </a:lnTo>
                      <a:lnTo>
                        <a:pt x="76" y="154"/>
                      </a:lnTo>
                      <a:lnTo>
                        <a:pt x="160" y="17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9" name="Freeform 32"/>
                <p:cNvSpPr>
                  <a:spLocks/>
                </p:cNvSpPr>
                <p:nvPr userDrawn="1"/>
              </p:nvSpPr>
              <p:spPr bwMode="auto">
                <a:xfrm>
                  <a:off x="449" y="3490"/>
                  <a:ext cx="322" cy="594"/>
                </a:xfrm>
                <a:custGeom>
                  <a:avLst/>
                  <a:gdLst>
                    <a:gd name="T0" fmla="*/ 55 w 642"/>
                    <a:gd name="T1" fmla="*/ 224 h 1188"/>
                    <a:gd name="T2" fmla="*/ 0 w 642"/>
                    <a:gd name="T3" fmla="*/ 31 h 1188"/>
                    <a:gd name="T4" fmla="*/ 21 w 642"/>
                    <a:gd name="T5" fmla="*/ 10 h 1188"/>
                    <a:gd name="T6" fmla="*/ 65 w 642"/>
                    <a:gd name="T7" fmla="*/ 0 h 1188"/>
                    <a:gd name="T8" fmla="*/ 100 w 642"/>
                    <a:gd name="T9" fmla="*/ 15 h 1188"/>
                    <a:gd name="T10" fmla="*/ 162 w 642"/>
                    <a:gd name="T11" fmla="*/ 297 h 1188"/>
                    <a:gd name="T12" fmla="*/ 139 w 642"/>
                    <a:gd name="T13" fmla="*/ 273 h 1188"/>
                    <a:gd name="T14" fmla="*/ 89 w 642"/>
                    <a:gd name="T15" fmla="*/ 25 h 1188"/>
                    <a:gd name="T16" fmla="*/ 57 w 642"/>
                    <a:gd name="T17" fmla="*/ 16 h 1188"/>
                    <a:gd name="T18" fmla="*/ 30 w 642"/>
                    <a:gd name="T19" fmla="*/ 19 h 1188"/>
                    <a:gd name="T20" fmla="*/ 19 w 642"/>
                    <a:gd name="T21" fmla="*/ 36 h 1188"/>
                    <a:gd name="T22" fmla="*/ 77 w 642"/>
                    <a:gd name="T23" fmla="*/ 231 h 1188"/>
                    <a:gd name="T24" fmla="*/ 55 w 642"/>
                    <a:gd name="T25" fmla="*/ 224 h 1188"/>
                    <a:gd name="T26" fmla="*/ 55 w 642"/>
                    <a:gd name="T27" fmla="*/ 224 h 118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642" h="1188">
                      <a:moveTo>
                        <a:pt x="218" y="896"/>
                      </a:moveTo>
                      <a:lnTo>
                        <a:pt x="0" y="124"/>
                      </a:lnTo>
                      <a:lnTo>
                        <a:pt x="81" y="38"/>
                      </a:lnTo>
                      <a:lnTo>
                        <a:pt x="258" y="0"/>
                      </a:lnTo>
                      <a:lnTo>
                        <a:pt x="399" y="57"/>
                      </a:lnTo>
                      <a:lnTo>
                        <a:pt x="642" y="1188"/>
                      </a:lnTo>
                      <a:lnTo>
                        <a:pt x="555" y="1091"/>
                      </a:lnTo>
                      <a:lnTo>
                        <a:pt x="355" y="97"/>
                      </a:lnTo>
                      <a:lnTo>
                        <a:pt x="226" y="61"/>
                      </a:lnTo>
                      <a:lnTo>
                        <a:pt x="119" y="74"/>
                      </a:lnTo>
                      <a:lnTo>
                        <a:pt x="76" y="141"/>
                      </a:lnTo>
                      <a:lnTo>
                        <a:pt x="306" y="924"/>
                      </a:lnTo>
                      <a:lnTo>
                        <a:pt x="218" y="89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0" name="Freeform 33"/>
                <p:cNvSpPr>
                  <a:spLocks/>
                </p:cNvSpPr>
                <p:nvPr userDrawn="1"/>
              </p:nvSpPr>
              <p:spPr bwMode="auto">
                <a:xfrm>
                  <a:off x="578" y="3650"/>
                  <a:ext cx="96" cy="252"/>
                </a:xfrm>
                <a:custGeom>
                  <a:avLst/>
                  <a:gdLst>
                    <a:gd name="T0" fmla="*/ 0 w 192"/>
                    <a:gd name="T1" fmla="*/ 7 h 504"/>
                    <a:gd name="T2" fmla="*/ 19 w 192"/>
                    <a:gd name="T3" fmla="*/ 49 h 504"/>
                    <a:gd name="T4" fmla="*/ 29 w 192"/>
                    <a:gd name="T5" fmla="*/ 80 h 504"/>
                    <a:gd name="T6" fmla="*/ 29 w 192"/>
                    <a:gd name="T7" fmla="*/ 126 h 504"/>
                    <a:gd name="T8" fmla="*/ 48 w 192"/>
                    <a:gd name="T9" fmla="*/ 126 h 504"/>
                    <a:gd name="T10" fmla="*/ 47 w 192"/>
                    <a:gd name="T11" fmla="*/ 90 h 504"/>
                    <a:gd name="T12" fmla="*/ 41 w 192"/>
                    <a:gd name="T13" fmla="*/ 52 h 504"/>
                    <a:gd name="T14" fmla="*/ 25 w 192"/>
                    <a:gd name="T15" fmla="*/ 15 h 504"/>
                    <a:gd name="T16" fmla="*/ 16 w 192"/>
                    <a:gd name="T17" fmla="*/ 0 h 504"/>
                    <a:gd name="T18" fmla="*/ 0 w 192"/>
                    <a:gd name="T19" fmla="*/ 7 h 504"/>
                    <a:gd name="T20" fmla="*/ 0 w 192"/>
                    <a:gd name="T21" fmla="*/ 7 h 50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92" h="504">
                      <a:moveTo>
                        <a:pt x="0" y="27"/>
                      </a:moveTo>
                      <a:lnTo>
                        <a:pt x="76" y="194"/>
                      </a:lnTo>
                      <a:lnTo>
                        <a:pt x="113" y="318"/>
                      </a:lnTo>
                      <a:lnTo>
                        <a:pt x="116" y="504"/>
                      </a:lnTo>
                      <a:lnTo>
                        <a:pt x="192" y="504"/>
                      </a:lnTo>
                      <a:lnTo>
                        <a:pt x="187" y="360"/>
                      </a:lnTo>
                      <a:lnTo>
                        <a:pt x="162" y="208"/>
                      </a:lnTo>
                      <a:lnTo>
                        <a:pt x="99" y="59"/>
                      </a:lnTo>
                      <a:lnTo>
                        <a:pt x="63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1" name="Freeform 34"/>
                <p:cNvSpPr>
                  <a:spLocks/>
                </p:cNvSpPr>
                <p:nvPr userDrawn="1"/>
              </p:nvSpPr>
              <p:spPr bwMode="auto">
                <a:xfrm>
                  <a:off x="328" y="3630"/>
                  <a:ext cx="195" cy="135"/>
                </a:xfrm>
                <a:custGeom>
                  <a:avLst/>
                  <a:gdLst>
                    <a:gd name="T0" fmla="*/ 75 w 390"/>
                    <a:gd name="T1" fmla="*/ 0 h 269"/>
                    <a:gd name="T2" fmla="*/ 65 w 390"/>
                    <a:gd name="T3" fmla="*/ 5 h 269"/>
                    <a:gd name="T4" fmla="*/ 64 w 390"/>
                    <a:gd name="T5" fmla="*/ 17 h 269"/>
                    <a:gd name="T6" fmla="*/ 0 w 390"/>
                    <a:gd name="T7" fmla="*/ 43 h 269"/>
                    <a:gd name="T8" fmla="*/ 0 w 390"/>
                    <a:gd name="T9" fmla="*/ 56 h 269"/>
                    <a:gd name="T10" fmla="*/ 71 w 390"/>
                    <a:gd name="T11" fmla="*/ 57 h 269"/>
                    <a:gd name="T12" fmla="*/ 80 w 390"/>
                    <a:gd name="T13" fmla="*/ 68 h 269"/>
                    <a:gd name="T14" fmla="*/ 98 w 390"/>
                    <a:gd name="T15" fmla="*/ 67 h 269"/>
                    <a:gd name="T16" fmla="*/ 96 w 390"/>
                    <a:gd name="T17" fmla="*/ 48 h 269"/>
                    <a:gd name="T18" fmla="*/ 29 w 390"/>
                    <a:gd name="T19" fmla="*/ 44 h 269"/>
                    <a:gd name="T20" fmla="*/ 84 w 390"/>
                    <a:gd name="T21" fmla="*/ 23 h 269"/>
                    <a:gd name="T22" fmla="*/ 75 w 390"/>
                    <a:gd name="T23" fmla="*/ 0 h 269"/>
                    <a:gd name="T24" fmla="*/ 75 w 390"/>
                    <a:gd name="T25" fmla="*/ 0 h 26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90" h="269">
                      <a:moveTo>
                        <a:pt x="297" y="0"/>
                      </a:moveTo>
                      <a:lnTo>
                        <a:pt x="257" y="17"/>
                      </a:lnTo>
                      <a:lnTo>
                        <a:pt x="253" y="66"/>
                      </a:lnTo>
                      <a:lnTo>
                        <a:pt x="0" y="169"/>
                      </a:lnTo>
                      <a:lnTo>
                        <a:pt x="0" y="222"/>
                      </a:lnTo>
                      <a:lnTo>
                        <a:pt x="284" y="226"/>
                      </a:lnTo>
                      <a:lnTo>
                        <a:pt x="320" y="269"/>
                      </a:lnTo>
                      <a:lnTo>
                        <a:pt x="390" y="266"/>
                      </a:lnTo>
                      <a:lnTo>
                        <a:pt x="383" y="190"/>
                      </a:lnTo>
                      <a:lnTo>
                        <a:pt x="116" y="176"/>
                      </a:lnTo>
                      <a:lnTo>
                        <a:pt x="333" y="89"/>
                      </a:lnTo>
                      <a:lnTo>
                        <a:pt x="297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2" name="Freeform 35"/>
                <p:cNvSpPr>
                  <a:spLocks/>
                </p:cNvSpPr>
                <p:nvPr userDrawn="1"/>
              </p:nvSpPr>
              <p:spPr bwMode="auto">
                <a:xfrm>
                  <a:off x="658" y="3538"/>
                  <a:ext cx="471" cy="212"/>
                </a:xfrm>
                <a:custGeom>
                  <a:avLst/>
                  <a:gdLst>
                    <a:gd name="T0" fmla="*/ 0 w 941"/>
                    <a:gd name="T1" fmla="*/ 33 h 424"/>
                    <a:gd name="T2" fmla="*/ 216 w 941"/>
                    <a:gd name="T3" fmla="*/ 0 h 424"/>
                    <a:gd name="T4" fmla="*/ 232 w 941"/>
                    <a:gd name="T5" fmla="*/ 20 h 424"/>
                    <a:gd name="T6" fmla="*/ 236 w 941"/>
                    <a:gd name="T7" fmla="*/ 46 h 424"/>
                    <a:gd name="T8" fmla="*/ 226 w 941"/>
                    <a:gd name="T9" fmla="*/ 71 h 424"/>
                    <a:gd name="T10" fmla="*/ 15 w 941"/>
                    <a:gd name="T11" fmla="*/ 106 h 424"/>
                    <a:gd name="T12" fmla="*/ 14 w 941"/>
                    <a:gd name="T13" fmla="*/ 96 h 424"/>
                    <a:gd name="T14" fmla="*/ 216 w 941"/>
                    <a:gd name="T15" fmla="*/ 61 h 424"/>
                    <a:gd name="T16" fmla="*/ 224 w 941"/>
                    <a:gd name="T17" fmla="*/ 37 h 424"/>
                    <a:gd name="T18" fmla="*/ 210 w 941"/>
                    <a:gd name="T19" fmla="*/ 15 h 424"/>
                    <a:gd name="T20" fmla="*/ 0 w 941"/>
                    <a:gd name="T21" fmla="*/ 47 h 424"/>
                    <a:gd name="T22" fmla="*/ 0 w 941"/>
                    <a:gd name="T23" fmla="*/ 33 h 424"/>
                    <a:gd name="T24" fmla="*/ 0 w 941"/>
                    <a:gd name="T25" fmla="*/ 33 h 42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941" h="424">
                      <a:moveTo>
                        <a:pt x="0" y="131"/>
                      </a:moveTo>
                      <a:lnTo>
                        <a:pt x="863" y="0"/>
                      </a:lnTo>
                      <a:lnTo>
                        <a:pt x="926" y="78"/>
                      </a:lnTo>
                      <a:lnTo>
                        <a:pt x="941" y="181"/>
                      </a:lnTo>
                      <a:lnTo>
                        <a:pt x="903" y="282"/>
                      </a:lnTo>
                      <a:lnTo>
                        <a:pt x="57" y="424"/>
                      </a:lnTo>
                      <a:lnTo>
                        <a:pt x="53" y="384"/>
                      </a:lnTo>
                      <a:lnTo>
                        <a:pt x="863" y="242"/>
                      </a:lnTo>
                      <a:lnTo>
                        <a:pt x="893" y="145"/>
                      </a:lnTo>
                      <a:lnTo>
                        <a:pt x="840" y="57"/>
                      </a:lnTo>
                      <a:lnTo>
                        <a:pt x="0" y="185"/>
                      </a:lnTo>
                      <a:lnTo>
                        <a:pt x="0" y="13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3" name="Freeform 36"/>
                <p:cNvSpPr>
                  <a:spLocks/>
                </p:cNvSpPr>
                <p:nvPr userDrawn="1"/>
              </p:nvSpPr>
              <p:spPr bwMode="auto">
                <a:xfrm>
                  <a:off x="717" y="3606"/>
                  <a:ext cx="245" cy="86"/>
                </a:xfrm>
                <a:custGeom>
                  <a:avLst/>
                  <a:gdLst>
                    <a:gd name="T0" fmla="*/ 0 w 488"/>
                    <a:gd name="T1" fmla="*/ 31 h 173"/>
                    <a:gd name="T2" fmla="*/ 17 w 488"/>
                    <a:gd name="T3" fmla="*/ 43 h 173"/>
                    <a:gd name="T4" fmla="*/ 56 w 488"/>
                    <a:gd name="T5" fmla="*/ 41 h 173"/>
                    <a:gd name="T6" fmla="*/ 105 w 488"/>
                    <a:gd name="T7" fmla="*/ 29 h 173"/>
                    <a:gd name="T8" fmla="*/ 123 w 488"/>
                    <a:gd name="T9" fmla="*/ 10 h 173"/>
                    <a:gd name="T10" fmla="*/ 111 w 488"/>
                    <a:gd name="T11" fmla="*/ 0 h 173"/>
                    <a:gd name="T12" fmla="*/ 64 w 488"/>
                    <a:gd name="T13" fmla="*/ 0 h 173"/>
                    <a:gd name="T14" fmla="*/ 28 w 488"/>
                    <a:gd name="T15" fmla="*/ 3 h 173"/>
                    <a:gd name="T16" fmla="*/ 4 w 488"/>
                    <a:gd name="T17" fmla="*/ 19 h 173"/>
                    <a:gd name="T18" fmla="*/ 28 w 488"/>
                    <a:gd name="T19" fmla="*/ 23 h 173"/>
                    <a:gd name="T20" fmla="*/ 69 w 488"/>
                    <a:gd name="T21" fmla="*/ 13 h 173"/>
                    <a:gd name="T22" fmla="*/ 105 w 488"/>
                    <a:gd name="T23" fmla="*/ 13 h 173"/>
                    <a:gd name="T24" fmla="*/ 68 w 488"/>
                    <a:gd name="T25" fmla="*/ 27 h 173"/>
                    <a:gd name="T26" fmla="*/ 36 w 488"/>
                    <a:gd name="T27" fmla="*/ 31 h 173"/>
                    <a:gd name="T28" fmla="*/ 0 w 488"/>
                    <a:gd name="T29" fmla="*/ 31 h 173"/>
                    <a:gd name="T30" fmla="*/ 0 w 488"/>
                    <a:gd name="T31" fmla="*/ 31 h 17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488" h="173">
                      <a:moveTo>
                        <a:pt x="0" y="126"/>
                      </a:moveTo>
                      <a:lnTo>
                        <a:pt x="66" y="173"/>
                      </a:lnTo>
                      <a:lnTo>
                        <a:pt x="222" y="166"/>
                      </a:lnTo>
                      <a:lnTo>
                        <a:pt x="418" y="116"/>
                      </a:lnTo>
                      <a:lnTo>
                        <a:pt x="488" y="42"/>
                      </a:lnTo>
                      <a:lnTo>
                        <a:pt x="443" y="2"/>
                      </a:lnTo>
                      <a:lnTo>
                        <a:pt x="253" y="0"/>
                      </a:lnTo>
                      <a:lnTo>
                        <a:pt x="110" y="12"/>
                      </a:lnTo>
                      <a:lnTo>
                        <a:pt x="15" y="76"/>
                      </a:lnTo>
                      <a:lnTo>
                        <a:pt x="112" y="95"/>
                      </a:lnTo>
                      <a:lnTo>
                        <a:pt x="275" y="53"/>
                      </a:lnTo>
                      <a:lnTo>
                        <a:pt x="416" y="53"/>
                      </a:lnTo>
                      <a:lnTo>
                        <a:pt x="268" y="110"/>
                      </a:lnTo>
                      <a:lnTo>
                        <a:pt x="142" y="126"/>
                      </a:lnTo>
                      <a:lnTo>
                        <a:pt x="0" y="12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035" name="Group 37"/>
          <p:cNvGrpSpPr>
            <a:grpSpLocks/>
          </p:cNvGrpSpPr>
          <p:nvPr/>
        </p:nvGrpSpPr>
        <p:grpSpPr bwMode="auto">
          <a:xfrm>
            <a:off x="11573934" y="2116139"/>
            <a:ext cx="514351" cy="4308475"/>
            <a:chOff x="5468" y="1333"/>
            <a:chExt cx="243" cy="2714"/>
          </a:xfrm>
        </p:grpSpPr>
        <p:sp>
          <p:nvSpPr>
            <p:cNvPr id="1049" name="Freeform 38"/>
            <p:cNvSpPr>
              <a:spLocks/>
            </p:cNvSpPr>
            <p:nvPr userDrawn="1"/>
          </p:nvSpPr>
          <p:spPr bwMode="auto">
            <a:xfrm flipH="1">
              <a:off x="5468" y="2620"/>
              <a:ext cx="205" cy="1427"/>
            </a:xfrm>
            <a:custGeom>
              <a:avLst/>
              <a:gdLst>
                <a:gd name="T0" fmla="*/ 49 w 772"/>
                <a:gd name="T1" fmla="*/ 603 h 3266"/>
                <a:gd name="T2" fmla="*/ 27 w 772"/>
                <a:gd name="T3" fmla="*/ 562 h 3266"/>
                <a:gd name="T4" fmla="*/ 23 w 772"/>
                <a:gd name="T5" fmla="*/ 531 h 3266"/>
                <a:gd name="T6" fmla="*/ 26 w 772"/>
                <a:gd name="T7" fmla="*/ 485 h 3266"/>
                <a:gd name="T8" fmla="*/ 42 w 772"/>
                <a:gd name="T9" fmla="*/ 430 h 3266"/>
                <a:gd name="T10" fmla="*/ 45 w 772"/>
                <a:gd name="T11" fmla="*/ 395 h 3266"/>
                <a:gd name="T12" fmla="*/ 42 w 772"/>
                <a:gd name="T13" fmla="*/ 372 h 3266"/>
                <a:gd name="T14" fmla="*/ 28 w 772"/>
                <a:gd name="T15" fmla="*/ 355 h 3266"/>
                <a:gd name="T16" fmla="*/ 25 w 772"/>
                <a:gd name="T17" fmla="*/ 333 h 3266"/>
                <a:gd name="T18" fmla="*/ 30 w 772"/>
                <a:gd name="T19" fmla="*/ 303 h 3266"/>
                <a:gd name="T20" fmla="*/ 52 w 772"/>
                <a:gd name="T21" fmla="*/ 221 h 3266"/>
                <a:gd name="T22" fmla="*/ 54 w 772"/>
                <a:gd name="T23" fmla="*/ 180 h 3266"/>
                <a:gd name="T24" fmla="*/ 49 w 772"/>
                <a:gd name="T25" fmla="*/ 136 h 3266"/>
                <a:gd name="T26" fmla="*/ 30 w 772"/>
                <a:gd name="T27" fmla="*/ 115 h 3266"/>
                <a:gd name="T28" fmla="*/ 14 w 772"/>
                <a:gd name="T29" fmla="*/ 80 h 3266"/>
                <a:gd name="T30" fmla="*/ 0 w 772"/>
                <a:gd name="T31" fmla="*/ 0 h 3266"/>
                <a:gd name="T32" fmla="*/ 2 w 772"/>
                <a:gd name="T33" fmla="*/ 73 h 3266"/>
                <a:gd name="T34" fmla="*/ 13 w 772"/>
                <a:gd name="T35" fmla="*/ 117 h 3266"/>
                <a:gd name="T36" fmla="*/ 27 w 772"/>
                <a:gd name="T37" fmla="*/ 144 h 3266"/>
                <a:gd name="T38" fmla="*/ 42 w 772"/>
                <a:gd name="T39" fmla="*/ 159 h 3266"/>
                <a:gd name="T40" fmla="*/ 43 w 772"/>
                <a:gd name="T41" fmla="*/ 199 h 3266"/>
                <a:gd name="T42" fmla="*/ 35 w 772"/>
                <a:gd name="T43" fmla="*/ 242 h 3266"/>
                <a:gd name="T44" fmla="*/ 17 w 772"/>
                <a:gd name="T45" fmla="*/ 316 h 3266"/>
                <a:gd name="T46" fmla="*/ 16 w 772"/>
                <a:gd name="T47" fmla="*/ 364 h 3266"/>
                <a:gd name="T48" fmla="*/ 33 w 772"/>
                <a:gd name="T49" fmla="*/ 391 h 3266"/>
                <a:gd name="T50" fmla="*/ 32 w 772"/>
                <a:gd name="T51" fmla="*/ 416 h 3266"/>
                <a:gd name="T52" fmla="*/ 18 w 772"/>
                <a:gd name="T53" fmla="*/ 468 h 3266"/>
                <a:gd name="T54" fmla="*/ 11 w 772"/>
                <a:gd name="T55" fmla="*/ 518 h 3266"/>
                <a:gd name="T56" fmla="*/ 17 w 772"/>
                <a:gd name="T57" fmla="*/ 571 h 3266"/>
                <a:gd name="T58" fmla="*/ 30 w 772"/>
                <a:gd name="T59" fmla="*/ 600 h 3266"/>
                <a:gd name="T60" fmla="*/ 47 w 772"/>
                <a:gd name="T61" fmla="*/ 623 h 3266"/>
                <a:gd name="T62" fmla="*/ 49 w 772"/>
                <a:gd name="T63" fmla="*/ 603 h 3266"/>
                <a:gd name="T64" fmla="*/ 49 w 772"/>
                <a:gd name="T65" fmla="*/ 603 h 32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72" h="3266">
                  <a:moveTo>
                    <a:pt x="692" y="3156"/>
                  </a:moveTo>
                  <a:lnTo>
                    <a:pt x="380" y="2945"/>
                  </a:lnTo>
                  <a:lnTo>
                    <a:pt x="319" y="2783"/>
                  </a:lnTo>
                  <a:lnTo>
                    <a:pt x="371" y="2542"/>
                  </a:lnTo>
                  <a:lnTo>
                    <a:pt x="591" y="2251"/>
                  </a:lnTo>
                  <a:lnTo>
                    <a:pt x="641" y="2070"/>
                  </a:lnTo>
                  <a:lnTo>
                    <a:pt x="591" y="1948"/>
                  </a:lnTo>
                  <a:lnTo>
                    <a:pt x="401" y="1859"/>
                  </a:lnTo>
                  <a:lnTo>
                    <a:pt x="361" y="1747"/>
                  </a:lnTo>
                  <a:lnTo>
                    <a:pt x="430" y="1587"/>
                  </a:lnTo>
                  <a:lnTo>
                    <a:pt x="741" y="1156"/>
                  </a:lnTo>
                  <a:lnTo>
                    <a:pt x="772" y="945"/>
                  </a:lnTo>
                  <a:lnTo>
                    <a:pt x="692" y="713"/>
                  </a:lnTo>
                  <a:lnTo>
                    <a:pt x="430" y="603"/>
                  </a:lnTo>
                  <a:lnTo>
                    <a:pt x="200" y="422"/>
                  </a:lnTo>
                  <a:lnTo>
                    <a:pt x="0" y="0"/>
                  </a:lnTo>
                  <a:lnTo>
                    <a:pt x="29" y="382"/>
                  </a:lnTo>
                  <a:lnTo>
                    <a:pt x="179" y="612"/>
                  </a:lnTo>
                  <a:lnTo>
                    <a:pt x="380" y="753"/>
                  </a:lnTo>
                  <a:lnTo>
                    <a:pt x="601" y="833"/>
                  </a:lnTo>
                  <a:lnTo>
                    <a:pt x="612" y="1044"/>
                  </a:lnTo>
                  <a:lnTo>
                    <a:pt x="500" y="1266"/>
                  </a:lnTo>
                  <a:lnTo>
                    <a:pt x="240" y="1658"/>
                  </a:lnTo>
                  <a:lnTo>
                    <a:pt x="230" y="1909"/>
                  </a:lnTo>
                  <a:lnTo>
                    <a:pt x="471" y="2049"/>
                  </a:lnTo>
                  <a:lnTo>
                    <a:pt x="460" y="2180"/>
                  </a:lnTo>
                  <a:lnTo>
                    <a:pt x="249" y="2452"/>
                  </a:lnTo>
                  <a:lnTo>
                    <a:pt x="160" y="2713"/>
                  </a:lnTo>
                  <a:lnTo>
                    <a:pt x="240" y="2994"/>
                  </a:lnTo>
                  <a:lnTo>
                    <a:pt x="430" y="3144"/>
                  </a:lnTo>
                  <a:lnTo>
                    <a:pt x="671" y="3266"/>
                  </a:lnTo>
                  <a:lnTo>
                    <a:pt x="692" y="3156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50" name="Freeform 39"/>
            <p:cNvSpPr>
              <a:spLocks/>
            </p:cNvSpPr>
            <p:nvPr userDrawn="1"/>
          </p:nvSpPr>
          <p:spPr bwMode="auto">
            <a:xfrm flipH="1">
              <a:off x="5506" y="1333"/>
              <a:ext cx="205" cy="1633"/>
            </a:xfrm>
            <a:custGeom>
              <a:avLst/>
              <a:gdLst>
                <a:gd name="T0" fmla="*/ 49 w 772"/>
                <a:gd name="T1" fmla="*/ 789 h 3266"/>
                <a:gd name="T2" fmla="*/ 27 w 772"/>
                <a:gd name="T3" fmla="*/ 737 h 3266"/>
                <a:gd name="T4" fmla="*/ 23 w 772"/>
                <a:gd name="T5" fmla="*/ 696 h 3266"/>
                <a:gd name="T6" fmla="*/ 26 w 772"/>
                <a:gd name="T7" fmla="*/ 636 h 3266"/>
                <a:gd name="T8" fmla="*/ 42 w 772"/>
                <a:gd name="T9" fmla="*/ 563 h 3266"/>
                <a:gd name="T10" fmla="*/ 45 w 772"/>
                <a:gd name="T11" fmla="*/ 518 h 3266"/>
                <a:gd name="T12" fmla="*/ 42 w 772"/>
                <a:gd name="T13" fmla="*/ 487 h 3266"/>
                <a:gd name="T14" fmla="*/ 28 w 772"/>
                <a:gd name="T15" fmla="*/ 465 h 3266"/>
                <a:gd name="T16" fmla="*/ 25 w 772"/>
                <a:gd name="T17" fmla="*/ 437 h 3266"/>
                <a:gd name="T18" fmla="*/ 30 w 772"/>
                <a:gd name="T19" fmla="*/ 397 h 3266"/>
                <a:gd name="T20" fmla="*/ 52 w 772"/>
                <a:gd name="T21" fmla="*/ 289 h 3266"/>
                <a:gd name="T22" fmla="*/ 54 w 772"/>
                <a:gd name="T23" fmla="*/ 237 h 3266"/>
                <a:gd name="T24" fmla="*/ 49 w 772"/>
                <a:gd name="T25" fmla="*/ 179 h 3266"/>
                <a:gd name="T26" fmla="*/ 30 w 772"/>
                <a:gd name="T27" fmla="*/ 151 h 3266"/>
                <a:gd name="T28" fmla="*/ 14 w 772"/>
                <a:gd name="T29" fmla="*/ 106 h 3266"/>
                <a:gd name="T30" fmla="*/ 0 w 772"/>
                <a:gd name="T31" fmla="*/ 0 h 3266"/>
                <a:gd name="T32" fmla="*/ 2 w 772"/>
                <a:gd name="T33" fmla="*/ 96 h 3266"/>
                <a:gd name="T34" fmla="*/ 13 w 772"/>
                <a:gd name="T35" fmla="*/ 153 h 3266"/>
                <a:gd name="T36" fmla="*/ 27 w 772"/>
                <a:gd name="T37" fmla="*/ 189 h 3266"/>
                <a:gd name="T38" fmla="*/ 42 w 772"/>
                <a:gd name="T39" fmla="*/ 209 h 3266"/>
                <a:gd name="T40" fmla="*/ 43 w 772"/>
                <a:gd name="T41" fmla="*/ 261 h 3266"/>
                <a:gd name="T42" fmla="*/ 35 w 772"/>
                <a:gd name="T43" fmla="*/ 317 h 3266"/>
                <a:gd name="T44" fmla="*/ 17 w 772"/>
                <a:gd name="T45" fmla="*/ 415 h 3266"/>
                <a:gd name="T46" fmla="*/ 16 w 772"/>
                <a:gd name="T47" fmla="*/ 478 h 3266"/>
                <a:gd name="T48" fmla="*/ 33 w 772"/>
                <a:gd name="T49" fmla="*/ 513 h 3266"/>
                <a:gd name="T50" fmla="*/ 32 w 772"/>
                <a:gd name="T51" fmla="*/ 545 h 3266"/>
                <a:gd name="T52" fmla="*/ 18 w 772"/>
                <a:gd name="T53" fmla="*/ 613 h 3266"/>
                <a:gd name="T54" fmla="*/ 11 w 772"/>
                <a:gd name="T55" fmla="*/ 679 h 3266"/>
                <a:gd name="T56" fmla="*/ 17 w 772"/>
                <a:gd name="T57" fmla="*/ 749 h 3266"/>
                <a:gd name="T58" fmla="*/ 30 w 772"/>
                <a:gd name="T59" fmla="*/ 786 h 3266"/>
                <a:gd name="T60" fmla="*/ 47 w 772"/>
                <a:gd name="T61" fmla="*/ 817 h 3266"/>
                <a:gd name="T62" fmla="*/ 49 w 772"/>
                <a:gd name="T63" fmla="*/ 789 h 3266"/>
                <a:gd name="T64" fmla="*/ 49 w 772"/>
                <a:gd name="T65" fmla="*/ 789 h 32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72" h="3266">
                  <a:moveTo>
                    <a:pt x="692" y="3156"/>
                  </a:moveTo>
                  <a:lnTo>
                    <a:pt x="380" y="2945"/>
                  </a:lnTo>
                  <a:lnTo>
                    <a:pt x="319" y="2783"/>
                  </a:lnTo>
                  <a:lnTo>
                    <a:pt x="371" y="2542"/>
                  </a:lnTo>
                  <a:lnTo>
                    <a:pt x="591" y="2251"/>
                  </a:lnTo>
                  <a:lnTo>
                    <a:pt x="641" y="2070"/>
                  </a:lnTo>
                  <a:lnTo>
                    <a:pt x="591" y="1948"/>
                  </a:lnTo>
                  <a:lnTo>
                    <a:pt x="401" y="1859"/>
                  </a:lnTo>
                  <a:lnTo>
                    <a:pt x="361" y="1747"/>
                  </a:lnTo>
                  <a:lnTo>
                    <a:pt x="430" y="1587"/>
                  </a:lnTo>
                  <a:lnTo>
                    <a:pt x="741" y="1156"/>
                  </a:lnTo>
                  <a:lnTo>
                    <a:pt x="772" y="945"/>
                  </a:lnTo>
                  <a:lnTo>
                    <a:pt x="692" y="713"/>
                  </a:lnTo>
                  <a:lnTo>
                    <a:pt x="430" y="603"/>
                  </a:lnTo>
                  <a:lnTo>
                    <a:pt x="200" y="422"/>
                  </a:lnTo>
                  <a:lnTo>
                    <a:pt x="0" y="0"/>
                  </a:lnTo>
                  <a:lnTo>
                    <a:pt x="29" y="382"/>
                  </a:lnTo>
                  <a:lnTo>
                    <a:pt x="179" y="612"/>
                  </a:lnTo>
                  <a:lnTo>
                    <a:pt x="380" y="753"/>
                  </a:lnTo>
                  <a:lnTo>
                    <a:pt x="601" y="833"/>
                  </a:lnTo>
                  <a:lnTo>
                    <a:pt x="612" y="1044"/>
                  </a:lnTo>
                  <a:lnTo>
                    <a:pt x="500" y="1266"/>
                  </a:lnTo>
                  <a:lnTo>
                    <a:pt x="240" y="1658"/>
                  </a:lnTo>
                  <a:lnTo>
                    <a:pt x="230" y="1909"/>
                  </a:lnTo>
                  <a:lnTo>
                    <a:pt x="471" y="2049"/>
                  </a:lnTo>
                  <a:lnTo>
                    <a:pt x="460" y="2180"/>
                  </a:lnTo>
                  <a:lnTo>
                    <a:pt x="249" y="2452"/>
                  </a:lnTo>
                  <a:lnTo>
                    <a:pt x="160" y="2713"/>
                  </a:lnTo>
                  <a:lnTo>
                    <a:pt x="240" y="2994"/>
                  </a:lnTo>
                  <a:lnTo>
                    <a:pt x="430" y="3144"/>
                  </a:lnTo>
                  <a:lnTo>
                    <a:pt x="671" y="3266"/>
                  </a:lnTo>
                  <a:lnTo>
                    <a:pt x="692" y="3156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</p:grpSp>
      <p:grpSp>
        <p:nvGrpSpPr>
          <p:cNvPr id="1036" name="Group 40"/>
          <p:cNvGrpSpPr>
            <a:grpSpLocks/>
          </p:cNvGrpSpPr>
          <p:nvPr/>
        </p:nvGrpSpPr>
        <p:grpSpPr bwMode="auto">
          <a:xfrm>
            <a:off x="9757833" y="90488"/>
            <a:ext cx="2844800" cy="1911350"/>
            <a:chOff x="4610" y="57"/>
            <a:chExt cx="1344" cy="1204"/>
          </a:xfrm>
        </p:grpSpPr>
        <p:grpSp>
          <p:nvGrpSpPr>
            <p:cNvPr id="1037" name="Group 41"/>
            <p:cNvGrpSpPr>
              <a:grpSpLocks/>
            </p:cNvGrpSpPr>
            <p:nvPr userDrawn="1"/>
          </p:nvGrpSpPr>
          <p:grpSpPr bwMode="auto">
            <a:xfrm>
              <a:off x="4610" y="57"/>
              <a:ext cx="1344" cy="1204"/>
              <a:chOff x="4610" y="57"/>
              <a:chExt cx="1344" cy="1204"/>
            </a:xfrm>
          </p:grpSpPr>
          <p:sp>
            <p:nvSpPr>
              <p:cNvPr id="1039" name="Freeform 42"/>
              <p:cNvSpPr>
                <a:spLocks/>
              </p:cNvSpPr>
              <p:nvPr userDrawn="1"/>
            </p:nvSpPr>
            <p:spPr bwMode="auto">
              <a:xfrm rot="-3172564">
                <a:off x="5430" y="1086"/>
                <a:ext cx="62" cy="288"/>
              </a:xfrm>
              <a:custGeom>
                <a:avLst/>
                <a:gdLst>
                  <a:gd name="T0" fmla="*/ 8 w 245"/>
                  <a:gd name="T1" fmla="*/ 1 h 806"/>
                  <a:gd name="T2" fmla="*/ 8 w 245"/>
                  <a:gd name="T3" fmla="*/ 44 h 806"/>
                  <a:gd name="T4" fmla="*/ 0 w 245"/>
                  <a:gd name="T5" fmla="*/ 103 h 806"/>
                  <a:gd name="T6" fmla="*/ 5 w 245"/>
                  <a:gd name="T7" fmla="*/ 101 h 806"/>
                  <a:gd name="T8" fmla="*/ 14 w 245"/>
                  <a:gd name="T9" fmla="*/ 48 h 806"/>
                  <a:gd name="T10" fmla="*/ 16 w 245"/>
                  <a:gd name="T11" fmla="*/ 0 h 806"/>
                  <a:gd name="T12" fmla="*/ 8 w 245"/>
                  <a:gd name="T13" fmla="*/ 1 h 806"/>
                  <a:gd name="T14" fmla="*/ 8 w 245"/>
                  <a:gd name="T15" fmla="*/ 1 h 80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5" h="806">
                    <a:moveTo>
                      <a:pt x="123" y="9"/>
                    </a:moveTo>
                    <a:lnTo>
                      <a:pt x="131" y="342"/>
                    </a:lnTo>
                    <a:lnTo>
                      <a:pt x="0" y="806"/>
                    </a:lnTo>
                    <a:lnTo>
                      <a:pt x="79" y="789"/>
                    </a:lnTo>
                    <a:lnTo>
                      <a:pt x="218" y="376"/>
                    </a:lnTo>
                    <a:lnTo>
                      <a:pt x="245" y="0"/>
                    </a:lnTo>
                    <a:lnTo>
                      <a:pt x="123" y="9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40" name="Group 43"/>
              <p:cNvGrpSpPr>
                <a:grpSpLocks/>
              </p:cNvGrpSpPr>
              <p:nvPr userDrawn="1"/>
            </p:nvGrpSpPr>
            <p:grpSpPr bwMode="auto">
              <a:xfrm>
                <a:off x="4610" y="57"/>
                <a:ext cx="1344" cy="985"/>
                <a:chOff x="4610" y="57"/>
                <a:chExt cx="1344" cy="985"/>
              </a:xfrm>
            </p:grpSpPr>
            <p:sp>
              <p:nvSpPr>
                <p:cNvPr id="1041" name="Freeform 44"/>
                <p:cNvSpPr>
                  <a:spLocks/>
                </p:cNvSpPr>
                <p:nvPr userDrawn="1"/>
              </p:nvSpPr>
              <p:spPr bwMode="auto">
                <a:xfrm rot="-3172564">
                  <a:off x="4966" y="71"/>
                  <a:ext cx="153" cy="125"/>
                </a:xfrm>
                <a:custGeom>
                  <a:avLst/>
                  <a:gdLst>
                    <a:gd name="T0" fmla="*/ 0 w 604"/>
                    <a:gd name="T1" fmla="*/ 0 h 349"/>
                    <a:gd name="T2" fmla="*/ 19 w 604"/>
                    <a:gd name="T3" fmla="*/ 24 h 349"/>
                    <a:gd name="T4" fmla="*/ 32 w 604"/>
                    <a:gd name="T5" fmla="*/ 45 h 349"/>
                    <a:gd name="T6" fmla="*/ 39 w 604"/>
                    <a:gd name="T7" fmla="*/ 18 h 349"/>
                    <a:gd name="T8" fmla="*/ 23 w 604"/>
                    <a:gd name="T9" fmla="*/ 1 h 349"/>
                    <a:gd name="T10" fmla="*/ 30 w 604"/>
                    <a:gd name="T11" fmla="*/ 24 h 349"/>
                    <a:gd name="T12" fmla="*/ 8 w 604"/>
                    <a:gd name="T13" fmla="*/ 2 h 349"/>
                    <a:gd name="T14" fmla="*/ 0 w 604"/>
                    <a:gd name="T15" fmla="*/ 0 h 349"/>
                    <a:gd name="T16" fmla="*/ 0 w 604"/>
                    <a:gd name="T17" fmla="*/ 0 h 34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604" h="349">
                      <a:moveTo>
                        <a:pt x="0" y="0"/>
                      </a:moveTo>
                      <a:lnTo>
                        <a:pt x="298" y="184"/>
                      </a:lnTo>
                      <a:lnTo>
                        <a:pt x="500" y="349"/>
                      </a:lnTo>
                      <a:lnTo>
                        <a:pt x="604" y="140"/>
                      </a:lnTo>
                      <a:lnTo>
                        <a:pt x="359" y="9"/>
                      </a:lnTo>
                      <a:lnTo>
                        <a:pt x="464" y="184"/>
                      </a:lnTo>
                      <a:lnTo>
                        <a:pt x="131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2" name="Freeform 45"/>
                <p:cNvSpPr>
                  <a:spLocks/>
                </p:cNvSpPr>
                <p:nvPr userDrawn="1"/>
              </p:nvSpPr>
              <p:spPr bwMode="auto">
                <a:xfrm rot="-3172564">
                  <a:off x="5048" y="332"/>
                  <a:ext cx="269" cy="438"/>
                </a:xfrm>
                <a:custGeom>
                  <a:avLst/>
                  <a:gdLst>
                    <a:gd name="T0" fmla="*/ 47 w 1064"/>
                    <a:gd name="T1" fmla="*/ 16 h 1230"/>
                    <a:gd name="T2" fmla="*/ 31 w 1064"/>
                    <a:gd name="T3" fmla="*/ 45 h 1230"/>
                    <a:gd name="T4" fmla="*/ 10 w 1064"/>
                    <a:gd name="T5" fmla="*/ 97 h 1230"/>
                    <a:gd name="T6" fmla="*/ 0 w 1064"/>
                    <a:gd name="T7" fmla="*/ 140 h 1230"/>
                    <a:gd name="T8" fmla="*/ 4 w 1064"/>
                    <a:gd name="T9" fmla="*/ 156 h 1230"/>
                    <a:gd name="T10" fmla="*/ 17 w 1064"/>
                    <a:gd name="T11" fmla="*/ 152 h 1230"/>
                    <a:gd name="T12" fmla="*/ 37 w 1064"/>
                    <a:gd name="T13" fmla="*/ 116 h 1230"/>
                    <a:gd name="T14" fmla="*/ 56 w 1064"/>
                    <a:gd name="T15" fmla="*/ 68 h 1230"/>
                    <a:gd name="T16" fmla="*/ 66 w 1064"/>
                    <a:gd name="T17" fmla="*/ 34 h 1230"/>
                    <a:gd name="T18" fmla="*/ 68 w 1064"/>
                    <a:gd name="T19" fmla="*/ 11 h 1230"/>
                    <a:gd name="T20" fmla="*/ 62 w 1064"/>
                    <a:gd name="T21" fmla="*/ 0 h 1230"/>
                    <a:gd name="T22" fmla="*/ 53 w 1064"/>
                    <a:gd name="T23" fmla="*/ 8 h 1230"/>
                    <a:gd name="T24" fmla="*/ 62 w 1064"/>
                    <a:gd name="T25" fmla="*/ 14 h 1230"/>
                    <a:gd name="T26" fmla="*/ 56 w 1064"/>
                    <a:gd name="T27" fmla="*/ 45 h 1230"/>
                    <a:gd name="T28" fmla="*/ 44 w 1064"/>
                    <a:gd name="T29" fmla="*/ 83 h 1230"/>
                    <a:gd name="T30" fmla="*/ 22 w 1064"/>
                    <a:gd name="T31" fmla="*/ 128 h 1230"/>
                    <a:gd name="T32" fmla="*/ 7 w 1064"/>
                    <a:gd name="T33" fmla="*/ 141 h 1230"/>
                    <a:gd name="T34" fmla="*/ 9 w 1064"/>
                    <a:gd name="T35" fmla="*/ 120 h 1230"/>
                    <a:gd name="T36" fmla="*/ 28 w 1064"/>
                    <a:gd name="T37" fmla="*/ 64 h 1230"/>
                    <a:gd name="T38" fmla="*/ 53 w 1064"/>
                    <a:gd name="T39" fmla="*/ 15 h 1230"/>
                    <a:gd name="T40" fmla="*/ 47 w 1064"/>
                    <a:gd name="T41" fmla="*/ 16 h 1230"/>
                    <a:gd name="T42" fmla="*/ 47 w 1064"/>
                    <a:gd name="T43" fmla="*/ 16 h 123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1064" h="1230">
                      <a:moveTo>
                        <a:pt x="741" y="129"/>
                      </a:moveTo>
                      <a:lnTo>
                        <a:pt x="485" y="352"/>
                      </a:lnTo>
                      <a:lnTo>
                        <a:pt x="163" y="762"/>
                      </a:lnTo>
                      <a:lnTo>
                        <a:pt x="0" y="1101"/>
                      </a:lnTo>
                      <a:lnTo>
                        <a:pt x="59" y="1230"/>
                      </a:lnTo>
                      <a:lnTo>
                        <a:pt x="262" y="1201"/>
                      </a:lnTo>
                      <a:lnTo>
                        <a:pt x="578" y="914"/>
                      </a:lnTo>
                      <a:lnTo>
                        <a:pt x="876" y="534"/>
                      </a:lnTo>
                      <a:lnTo>
                        <a:pt x="1034" y="270"/>
                      </a:lnTo>
                      <a:lnTo>
                        <a:pt x="1064" y="84"/>
                      </a:lnTo>
                      <a:lnTo>
                        <a:pt x="977" y="0"/>
                      </a:lnTo>
                      <a:lnTo>
                        <a:pt x="836" y="65"/>
                      </a:lnTo>
                      <a:lnTo>
                        <a:pt x="969" y="107"/>
                      </a:lnTo>
                      <a:lnTo>
                        <a:pt x="876" y="352"/>
                      </a:lnTo>
                      <a:lnTo>
                        <a:pt x="690" y="656"/>
                      </a:lnTo>
                      <a:lnTo>
                        <a:pt x="350" y="1008"/>
                      </a:lnTo>
                      <a:lnTo>
                        <a:pt x="116" y="1114"/>
                      </a:lnTo>
                      <a:lnTo>
                        <a:pt x="135" y="943"/>
                      </a:lnTo>
                      <a:lnTo>
                        <a:pt x="437" y="504"/>
                      </a:lnTo>
                      <a:lnTo>
                        <a:pt x="831" y="118"/>
                      </a:lnTo>
                      <a:lnTo>
                        <a:pt x="741" y="12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3" name="Freeform 46"/>
                <p:cNvSpPr>
                  <a:spLocks/>
                </p:cNvSpPr>
                <p:nvPr userDrawn="1"/>
              </p:nvSpPr>
              <p:spPr bwMode="auto">
                <a:xfrm rot="-3172564">
                  <a:off x="4858" y="182"/>
                  <a:ext cx="505" cy="898"/>
                </a:xfrm>
                <a:custGeom>
                  <a:avLst/>
                  <a:gdLst>
                    <a:gd name="T0" fmla="*/ 124 w 2002"/>
                    <a:gd name="T1" fmla="*/ 0 h 2521"/>
                    <a:gd name="T2" fmla="*/ 0 w 2002"/>
                    <a:gd name="T3" fmla="*/ 320 h 2521"/>
                    <a:gd name="T4" fmla="*/ 12 w 2002"/>
                    <a:gd name="T5" fmla="*/ 311 h 2521"/>
                    <a:gd name="T6" fmla="*/ 127 w 2002"/>
                    <a:gd name="T7" fmla="*/ 8 h 2521"/>
                    <a:gd name="T8" fmla="*/ 124 w 2002"/>
                    <a:gd name="T9" fmla="*/ 0 h 2521"/>
                    <a:gd name="T10" fmla="*/ 124 w 2002"/>
                    <a:gd name="T11" fmla="*/ 0 h 252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02" h="2521">
                      <a:moveTo>
                        <a:pt x="1941" y="0"/>
                      </a:moveTo>
                      <a:lnTo>
                        <a:pt x="0" y="2521"/>
                      </a:lnTo>
                      <a:lnTo>
                        <a:pt x="192" y="2450"/>
                      </a:lnTo>
                      <a:lnTo>
                        <a:pt x="2002" y="61"/>
                      </a:lnTo>
                      <a:lnTo>
                        <a:pt x="1941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4" name="Freeform 47"/>
                <p:cNvSpPr>
                  <a:spLocks/>
                </p:cNvSpPr>
                <p:nvPr userDrawn="1"/>
              </p:nvSpPr>
              <p:spPr bwMode="auto">
                <a:xfrm rot="-3172564">
                  <a:off x="4903" y="-19"/>
                  <a:ext cx="758" cy="1344"/>
                </a:xfrm>
                <a:custGeom>
                  <a:avLst/>
                  <a:gdLst>
                    <a:gd name="T0" fmla="*/ 6 w 3007"/>
                    <a:gd name="T1" fmla="*/ 361 h 3771"/>
                    <a:gd name="T2" fmla="*/ 25 w 3007"/>
                    <a:gd name="T3" fmla="*/ 360 h 3771"/>
                    <a:gd name="T4" fmla="*/ 52 w 3007"/>
                    <a:gd name="T5" fmla="*/ 382 h 3771"/>
                    <a:gd name="T6" fmla="*/ 43 w 3007"/>
                    <a:gd name="T7" fmla="*/ 358 h 3771"/>
                    <a:gd name="T8" fmla="*/ 23 w 3007"/>
                    <a:gd name="T9" fmla="*/ 343 h 3771"/>
                    <a:gd name="T10" fmla="*/ 41 w 3007"/>
                    <a:gd name="T11" fmla="*/ 345 h 3771"/>
                    <a:gd name="T12" fmla="*/ 62 w 3007"/>
                    <a:gd name="T13" fmla="*/ 365 h 3771"/>
                    <a:gd name="T14" fmla="*/ 182 w 3007"/>
                    <a:gd name="T15" fmla="*/ 53 h 3771"/>
                    <a:gd name="T16" fmla="*/ 164 w 3007"/>
                    <a:gd name="T17" fmla="*/ 19 h 3771"/>
                    <a:gd name="T18" fmla="*/ 147 w 3007"/>
                    <a:gd name="T19" fmla="*/ 0 h 3771"/>
                    <a:gd name="T20" fmla="*/ 171 w 3007"/>
                    <a:gd name="T21" fmla="*/ 10 h 3771"/>
                    <a:gd name="T22" fmla="*/ 191 w 3007"/>
                    <a:gd name="T23" fmla="*/ 55 h 3771"/>
                    <a:gd name="T24" fmla="*/ 53 w 3007"/>
                    <a:gd name="T25" fmla="*/ 416 h 3771"/>
                    <a:gd name="T26" fmla="*/ 31 w 3007"/>
                    <a:gd name="T27" fmla="*/ 433 h 3771"/>
                    <a:gd name="T28" fmla="*/ 7 w 3007"/>
                    <a:gd name="T29" fmla="*/ 479 h 3771"/>
                    <a:gd name="T30" fmla="*/ 0 w 3007"/>
                    <a:gd name="T31" fmla="*/ 466 h 3771"/>
                    <a:gd name="T32" fmla="*/ 8 w 3007"/>
                    <a:gd name="T33" fmla="*/ 461 h 3771"/>
                    <a:gd name="T34" fmla="*/ 24 w 3007"/>
                    <a:gd name="T35" fmla="*/ 430 h 3771"/>
                    <a:gd name="T36" fmla="*/ 11 w 3007"/>
                    <a:gd name="T37" fmla="*/ 416 h 3771"/>
                    <a:gd name="T38" fmla="*/ 11 w 3007"/>
                    <a:gd name="T39" fmla="*/ 403 h 3771"/>
                    <a:gd name="T40" fmla="*/ 26 w 3007"/>
                    <a:gd name="T41" fmla="*/ 419 h 3771"/>
                    <a:gd name="T42" fmla="*/ 26 w 3007"/>
                    <a:gd name="T43" fmla="*/ 405 h 3771"/>
                    <a:gd name="T44" fmla="*/ 38 w 3007"/>
                    <a:gd name="T45" fmla="*/ 409 h 3771"/>
                    <a:gd name="T46" fmla="*/ 27 w 3007"/>
                    <a:gd name="T47" fmla="*/ 391 h 3771"/>
                    <a:gd name="T48" fmla="*/ 40 w 3007"/>
                    <a:gd name="T49" fmla="*/ 389 h 3771"/>
                    <a:gd name="T50" fmla="*/ 6 w 3007"/>
                    <a:gd name="T51" fmla="*/ 361 h 3771"/>
                    <a:gd name="T52" fmla="*/ 6 w 3007"/>
                    <a:gd name="T53" fmla="*/ 361 h 3771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0" t="0" r="r" b="b"/>
                  <a:pathLst>
                    <a:path w="3007" h="3771">
                      <a:moveTo>
                        <a:pt x="95" y="2844"/>
                      </a:moveTo>
                      <a:lnTo>
                        <a:pt x="394" y="2834"/>
                      </a:lnTo>
                      <a:lnTo>
                        <a:pt x="821" y="3009"/>
                      </a:lnTo>
                      <a:lnTo>
                        <a:pt x="681" y="2817"/>
                      </a:lnTo>
                      <a:lnTo>
                        <a:pt x="367" y="2703"/>
                      </a:lnTo>
                      <a:lnTo>
                        <a:pt x="637" y="2720"/>
                      </a:lnTo>
                      <a:lnTo>
                        <a:pt x="979" y="2870"/>
                      </a:lnTo>
                      <a:lnTo>
                        <a:pt x="2859" y="420"/>
                      </a:lnTo>
                      <a:lnTo>
                        <a:pt x="2578" y="148"/>
                      </a:lnTo>
                      <a:lnTo>
                        <a:pt x="2308" y="0"/>
                      </a:lnTo>
                      <a:lnTo>
                        <a:pt x="2692" y="78"/>
                      </a:lnTo>
                      <a:lnTo>
                        <a:pt x="3007" y="428"/>
                      </a:lnTo>
                      <a:lnTo>
                        <a:pt x="831" y="3273"/>
                      </a:lnTo>
                      <a:lnTo>
                        <a:pt x="481" y="3412"/>
                      </a:lnTo>
                      <a:lnTo>
                        <a:pt x="105" y="3771"/>
                      </a:lnTo>
                      <a:lnTo>
                        <a:pt x="0" y="3667"/>
                      </a:lnTo>
                      <a:lnTo>
                        <a:pt x="131" y="3631"/>
                      </a:lnTo>
                      <a:lnTo>
                        <a:pt x="376" y="3385"/>
                      </a:lnTo>
                      <a:lnTo>
                        <a:pt x="165" y="3273"/>
                      </a:lnTo>
                      <a:lnTo>
                        <a:pt x="165" y="3176"/>
                      </a:lnTo>
                      <a:lnTo>
                        <a:pt x="411" y="3298"/>
                      </a:lnTo>
                      <a:lnTo>
                        <a:pt x="411" y="3186"/>
                      </a:lnTo>
                      <a:lnTo>
                        <a:pt x="603" y="3220"/>
                      </a:lnTo>
                      <a:lnTo>
                        <a:pt x="428" y="3079"/>
                      </a:lnTo>
                      <a:lnTo>
                        <a:pt x="629" y="3062"/>
                      </a:lnTo>
                      <a:lnTo>
                        <a:pt x="95" y="284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5" name="Freeform 48"/>
                <p:cNvSpPr>
                  <a:spLocks/>
                </p:cNvSpPr>
                <p:nvPr userDrawn="1"/>
              </p:nvSpPr>
              <p:spPr bwMode="auto">
                <a:xfrm rot="-3172564">
                  <a:off x="5297" y="897"/>
                  <a:ext cx="169" cy="122"/>
                </a:xfrm>
                <a:custGeom>
                  <a:avLst/>
                  <a:gdLst>
                    <a:gd name="T0" fmla="*/ 0 w 673"/>
                    <a:gd name="T1" fmla="*/ 10 h 342"/>
                    <a:gd name="T2" fmla="*/ 16 w 673"/>
                    <a:gd name="T3" fmla="*/ 14 h 342"/>
                    <a:gd name="T4" fmla="*/ 40 w 673"/>
                    <a:gd name="T5" fmla="*/ 44 h 342"/>
                    <a:gd name="T6" fmla="*/ 42 w 673"/>
                    <a:gd name="T7" fmla="*/ 37 h 342"/>
                    <a:gd name="T8" fmla="*/ 28 w 673"/>
                    <a:gd name="T9" fmla="*/ 15 h 342"/>
                    <a:gd name="T10" fmla="*/ 2 w 673"/>
                    <a:gd name="T11" fmla="*/ 0 h 342"/>
                    <a:gd name="T12" fmla="*/ 0 w 673"/>
                    <a:gd name="T13" fmla="*/ 10 h 342"/>
                    <a:gd name="T14" fmla="*/ 0 w 673"/>
                    <a:gd name="T15" fmla="*/ 10 h 34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673" h="342">
                      <a:moveTo>
                        <a:pt x="0" y="80"/>
                      </a:moveTo>
                      <a:lnTo>
                        <a:pt x="255" y="106"/>
                      </a:lnTo>
                      <a:lnTo>
                        <a:pt x="639" y="342"/>
                      </a:lnTo>
                      <a:lnTo>
                        <a:pt x="673" y="289"/>
                      </a:lnTo>
                      <a:lnTo>
                        <a:pt x="447" y="114"/>
                      </a:lnTo>
                      <a:lnTo>
                        <a:pt x="26" y="0"/>
                      </a:lnTo>
                      <a:lnTo>
                        <a:pt x="0" y="8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6" name="Freeform 49"/>
                <p:cNvSpPr>
                  <a:spLocks/>
                </p:cNvSpPr>
                <p:nvPr userDrawn="1"/>
              </p:nvSpPr>
              <p:spPr bwMode="auto">
                <a:xfrm rot="-3172564">
                  <a:off x="5253" y="806"/>
                  <a:ext cx="181" cy="144"/>
                </a:xfrm>
                <a:custGeom>
                  <a:avLst/>
                  <a:gdLst>
                    <a:gd name="T0" fmla="*/ 0 w 716"/>
                    <a:gd name="T1" fmla="*/ 10 h 403"/>
                    <a:gd name="T2" fmla="*/ 22 w 716"/>
                    <a:gd name="T3" fmla="*/ 19 h 403"/>
                    <a:gd name="T4" fmla="*/ 41 w 716"/>
                    <a:gd name="T5" fmla="*/ 51 h 403"/>
                    <a:gd name="T6" fmla="*/ 46 w 716"/>
                    <a:gd name="T7" fmla="*/ 38 h 403"/>
                    <a:gd name="T8" fmla="*/ 27 w 716"/>
                    <a:gd name="T9" fmla="*/ 15 h 403"/>
                    <a:gd name="T10" fmla="*/ 5 w 716"/>
                    <a:gd name="T11" fmla="*/ 0 h 403"/>
                    <a:gd name="T12" fmla="*/ 0 w 716"/>
                    <a:gd name="T13" fmla="*/ 10 h 403"/>
                    <a:gd name="T14" fmla="*/ 0 w 716"/>
                    <a:gd name="T15" fmla="*/ 10 h 40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716" h="403">
                      <a:moveTo>
                        <a:pt x="0" y="78"/>
                      </a:moveTo>
                      <a:lnTo>
                        <a:pt x="340" y="148"/>
                      </a:lnTo>
                      <a:lnTo>
                        <a:pt x="638" y="403"/>
                      </a:lnTo>
                      <a:lnTo>
                        <a:pt x="716" y="296"/>
                      </a:lnTo>
                      <a:lnTo>
                        <a:pt x="420" y="114"/>
                      </a:lnTo>
                      <a:lnTo>
                        <a:pt x="70" y="0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7" name="Freeform 50"/>
                <p:cNvSpPr>
                  <a:spLocks/>
                </p:cNvSpPr>
                <p:nvPr userDrawn="1"/>
              </p:nvSpPr>
              <p:spPr bwMode="auto">
                <a:xfrm rot="-3172564">
                  <a:off x="4985" y="210"/>
                  <a:ext cx="181" cy="147"/>
                </a:xfrm>
                <a:custGeom>
                  <a:avLst/>
                  <a:gdLst>
                    <a:gd name="T0" fmla="*/ 0 w 717"/>
                    <a:gd name="T1" fmla="*/ 10 h 411"/>
                    <a:gd name="T2" fmla="*/ 20 w 717"/>
                    <a:gd name="T3" fmla="*/ 18 h 411"/>
                    <a:gd name="T4" fmla="*/ 41 w 717"/>
                    <a:gd name="T5" fmla="*/ 53 h 411"/>
                    <a:gd name="T6" fmla="*/ 46 w 717"/>
                    <a:gd name="T7" fmla="*/ 40 h 411"/>
                    <a:gd name="T8" fmla="*/ 25 w 717"/>
                    <a:gd name="T9" fmla="*/ 11 h 411"/>
                    <a:gd name="T10" fmla="*/ 4 w 717"/>
                    <a:gd name="T11" fmla="*/ 0 h 411"/>
                    <a:gd name="T12" fmla="*/ 0 w 717"/>
                    <a:gd name="T13" fmla="*/ 10 h 411"/>
                    <a:gd name="T14" fmla="*/ 0 w 717"/>
                    <a:gd name="T15" fmla="*/ 10 h 411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717" h="411">
                      <a:moveTo>
                        <a:pt x="0" y="78"/>
                      </a:moveTo>
                      <a:lnTo>
                        <a:pt x="316" y="139"/>
                      </a:lnTo>
                      <a:lnTo>
                        <a:pt x="649" y="411"/>
                      </a:lnTo>
                      <a:lnTo>
                        <a:pt x="717" y="314"/>
                      </a:lnTo>
                      <a:lnTo>
                        <a:pt x="394" y="87"/>
                      </a:lnTo>
                      <a:lnTo>
                        <a:pt x="54" y="0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8" name="Freeform 51"/>
                <p:cNvSpPr>
                  <a:spLocks/>
                </p:cNvSpPr>
                <p:nvPr userDrawn="1"/>
              </p:nvSpPr>
              <p:spPr bwMode="auto">
                <a:xfrm rot="-3172564">
                  <a:off x="4948" y="142"/>
                  <a:ext cx="179" cy="138"/>
                </a:xfrm>
                <a:custGeom>
                  <a:avLst/>
                  <a:gdLst>
                    <a:gd name="T0" fmla="*/ 0 w 709"/>
                    <a:gd name="T1" fmla="*/ 11 h 386"/>
                    <a:gd name="T2" fmla="*/ 17 w 709"/>
                    <a:gd name="T3" fmla="*/ 17 h 386"/>
                    <a:gd name="T4" fmla="*/ 42 w 709"/>
                    <a:gd name="T5" fmla="*/ 49 h 386"/>
                    <a:gd name="T6" fmla="*/ 45 w 709"/>
                    <a:gd name="T7" fmla="*/ 39 h 386"/>
                    <a:gd name="T8" fmla="*/ 19 w 709"/>
                    <a:gd name="T9" fmla="*/ 7 h 386"/>
                    <a:gd name="T10" fmla="*/ 3 w 709"/>
                    <a:gd name="T11" fmla="*/ 0 h 386"/>
                    <a:gd name="T12" fmla="*/ 0 w 709"/>
                    <a:gd name="T13" fmla="*/ 11 h 386"/>
                    <a:gd name="T14" fmla="*/ 0 w 709"/>
                    <a:gd name="T15" fmla="*/ 11 h 38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709" h="386">
                      <a:moveTo>
                        <a:pt x="0" y="88"/>
                      </a:moveTo>
                      <a:lnTo>
                        <a:pt x="272" y="131"/>
                      </a:lnTo>
                      <a:lnTo>
                        <a:pt x="665" y="386"/>
                      </a:lnTo>
                      <a:lnTo>
                        <a:pt x="709" y="308"/>
                      </a:lnTo>
                      <a:lnTo>
                        <a:pt x="306" y="53"/>
                      </a:lnTo>
                      <a:lnTo>
                        <a:pt x="43" y="0"/>
                      </a:lnTo>
                      <a:lnTo>
                        <a:pt x="0" y="8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0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1038" name="Line 52"/>
            <p:cNvSpPr>
              <a:spLocks noChangeShapeType="1"/>
            </p:cNvSpPr>
            <p:nvPr userDrawn="1"/>
          </p:nvSpPr>
          <p:spPr bwMode="auto">
            <a:xfrm>
              <a:off x="4870" y="84"/>
              <a:ext cx="42" cy="9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32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mic Sans MS" panose="030F0702030302020204" pitchFamily="66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mic Sans MS" panose="030F0702030302020204" pitchFamily="66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mic Sans MS" panose="030F0702030302020204" pitchFamily="66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mic Sans MS" panose="030F0702030302020204" pitchFamily="66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mic Sans MS" panose="030F0702030302020204" pitchFamily="66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mic Sans MS" panose="030F0702030302020204" pitchFamily="66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mic Sans MS" panose="030F0702030302020204" pitchFamily="66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mic Sans MS" panose="030F0702030302020204" pitchFamily="66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o15.officeredir.microsoft.com/r/rlid2013GettingStartedCntrPPT?clid=1033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38" Type="http://schemas.openxmlformats.org/officeDocument/2006/relationships/tags" Target="../tags/tag138.xml"/><Relationship Id="rId154" Type="http://schemas.openxmlformats.org/officeDocument/2006/relationships/tags" Target="../tags/tag154.xml"/><Relationship Id="rId159" Type="http://schemas.openxmlformats.org/officeDocument/2006/relationships/tags" Target="../tags/tag159.xml"/><Relationship Id="rId175" Type="http://schemas.openxmlformats.org/officeDocument/2006/relationships/tags" Target="../tags/tag175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196" Type="http://schemas.openxmlformats.org/officeDocument/2006/relationships/slideLayout" Target="../slideLayouts/slideLayout13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28" Type="http://schemas.openxmlformats.org/officeDocument/2006/relationships/tags" Target="../tags/tag128.xml"/><Relationship Id="rId144" Type="http://schemas.openxmlformats.org/officeDocument/2006/relationships/tags" Target="../tags/tag144.xml"/><Relationship Id="rId149" Type="http://schemas.openxmlformats.org/officeDocument/2006/relationships/tags" Target="../tags/tag149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65" Type="http://schemas.openxmlformats.org/officeDocument/2006/relationships/tags" Target="../tags/tag165.xml"/><Relationship Id="rId181" Type="http://schemas.openxmlformats.org/officeDocument/2006/relationships/tags" Target="../tags/tag181.xml"/><Relationship Id="rId186" Type="http://schemas.openxmlformats.org/officeDocument/2006/relationships/tags" Target="../tags/tag186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34" Type="http://schemas.openxmlformats.org/officeDocument/2006/relationships/tags" Target="../tags/tag134.xml"/><Relationship Id="rId139" Type="http://schemas.openxmlformats.org/officeDocument/2006/relationships/tags" Target="../tags/tag139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55" Type="http://schemas.openxmlformats.org/officeDocument/2006/relationships/tags" Target="../tags/tag155.xml"/><Relationship Id="rId171" Type="http://schemas.openxmlformats.org/officeDocument/2006/relationships/tags" Target="../tags/tag171.xml"/><Relationship Id="rId176" Type="http://schemas.openxmlformats.org/officeDocument/2006/relationships/tags" Target="../tags/tag176.xml"/><Relationship Id="rId192" Type="http://schemas.openxmlformats.org/officeDocument/2006/relationships/tags" Target="../tags/tag192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45" Type="http://schemas.openxmlformats.org/officeDocument/2006/relationships/tags" Target="../tags/tag145.xml"/><Relationship Id="rId161" Type="http://schemas.openxmlformats.org/officeDocument/2006/relationships/tags" Target="../tags/tag161.xml"/><Relationship Id="rId166" Type="http://schemas.openxmlformats.org/officeDocument/2006/relationships/tags" Target="../tags/tag166.xml"/><Relationship Id="rId182" Type="http://schemas.openxmlformats.org/officeDocument/2006/relationships/tags" Target="../tags/tag182.xml"/><Relationship Id="rId187" Type="http://schemas.openxmlformats.org/officeDocument/2006/relationships/tags" Target="../tags/tag18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51" Type="http://schemas.openxmlformats.org/officeDocument/2006/relationships/tags" Target="../tags/tag151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79" Type="http://schemas.openxmlformats.org/officeDocument/2006/relationships/tags" Target="../tags/tag179.xml"/><Relationship Id="rId195" Type="http://schemas.openxmlformats.org/officeDocument/2006/relationships/tags" Target="../tags/tag195.xml"/><Relationship Id="rId190" Type="http://schemas.openxmlformats.org/officeDocument/2006/relationships/tags" Target="../tags/tag190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6" Type="http://schemas.openxmlformats.org/officeDocument/2006/relationships/tags" Target="../tags/tag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6F780-A3D3-40B3-8775-D6FECF3FA1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can Ethiopia learn from Kenya ICT Landscap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86BE10-529F-40F5-8381-E6619628F8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Bitange Ndemo</a:t>
            </a:r>
          </a:p>
          <a:p>
            <a:r>
              <a:rPr lang="en-US" dirty="0"/>
              <a:t>University of Nairobi</a:t>
            </a:r>
          </a:p>
        </p:txBody>
      </p:sp>
    </p:spTree>
    <p:extLst>
      <p:ext uri="{BB962C8B-B14F-4D97-AF65-F5344CB8AC3E}">
        <p14:creationId xmlns:p14="http://schemas.microsoft.com/office/powerpoint/2010/main" val="40734568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33952-40AD-4A85-B643-465E438D5D0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Fourth Industrial Revolution Technologies</a:t>
            </a:r>
          </a:p>
        </p:txBody>
      </p:sp>
      <p:pic>
        <p:nvPicPr>
          <p:cNvPr id="1034" name="Picture 10" descr="Image result for images for Internet of Things">
            <a:extLst>
              <a:ext uri="{FF2B5EF4-FFF2-40B4-BE49-F238E27FC236}">
                <a16:creationId xmlns:a16="http://schemas.microsoft.com/office/drawing/2014/main" id="{F1CD38C0-8853-4E1F-8660-81DA8B9C6C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9021" y="1587915"/>
            <a:ext cx="2076849" cy="183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mage result for images for Big Data">
            <a:extLst>
              <a:ext uri="{FF2B5EF4-FFF2-40B4-BE49-F238E27FC236}">
                <a16:creationId xmlns:a16="http://schemas.microsoft.com/office/drawing/2014/main" id="{BBE60713-F5DE-4379-8A24-5FD1A48367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652" y="1659832"/>
            <a:ext cx="2076849" cy="176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Image result for images for Artificial Intelligence">
            <a:extLst>
              <a:ext uri="{FF2B5EF4-FFF2-40B4-BE49-F238E27FC236}">
                <a16:creationId xmlns:a16="http://schemas.microsoft.com/office/drawing/2014/main" id="{FEDCC9DE-E9A3-4499-B0AA-9691DE442C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371" y="3748262"/>
            <a:ext cx="2011424" cy="2150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B20AC9-5C5A-4588-A901-18EBEF2B1B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75198" y="3748262"/>
            <a:ext cx="3011268" cy="2007011"/>
          </a:xfrm>
          <a:prstGeom prst="rect">
            <a:avLst/>
          </a:prstGeom>
        </p:spPr>
      </p:pic>
      <p:pic>
        <p:nvPicPr>
          <p:cNvPr id="1048" name="Picture 24">
            <a:extLst>
              <a:ext uri="{FF2B5EF4-FFF2-40B4-BE49-F238E27FC236}">
                <a16:creationId xmlns:a16="http://schemas.microsoft.com/office/drawing/2014/main" id="{E8B116D1-1F33-437B-A97C-63FCC2224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72" y="3748263"/>
            <a:ext cx="3438901" cy="215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Image result for Images for robotics">
            <a:extLst>
              <a:ext uri="{FF2B5EF4-FFF2-40B4-BE49-F238E27FC236}">
                <a16:creationId xmlns:a16="http://schemas.microsoft.com/office/drawing/2014/main" id="{82EC2EE6-98FD-4C52-95C0-01D374D358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4670" y="1659832"/>
            <a:ext cx="3285007" cy="121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73651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3F24E-7A57-4CF8-976A-97DE12B4E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Innovation </a:t>
            </a:r>
            <a:r>
              <a:rPr lang="en-US" dirty="0"/>
              <a:t>Adoption Wav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232E0D-1B51-405C-A7D1-015905953320}"/>
              </a:ext>
            </a:extLst>
          </p:cNvPr>
          <p:cNvSpPr txBox="1"/>
          <p:nvPr/>
        </p:nvSpPr>
        <p:spPr>
          <a:xfrm>
            <a:off x="1751251" y="2297981"/>
            <a:ext cx="1222642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Internet</a:t>
            </a:r>
          </a:p>
          <a:p>
            <a:pPr algn="ctr"/>
            <a:r>
              <a:rPr lang="en-US" sz="1400" dirty="0"/>
              <a:t>1990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5BA31E-97EE-4385-80A0-E3136A0C4F12}"/>
              </a:ext>
            </a:extLst>
          </p:cNvPr>
          <p:cNvSpPr txBox="1"/>
          <p:nvPr/>
        </p:nvSpPr>
        <p:spPr>
          <a:xfrm>
            <a:off x="4812173" y="2351782"/>
            <a:ext cx="1263487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Mobility</a:t>
            </a:r>
          </a:p>
          <a:p>
            <a:pPr algn="ctr"/>
            <a:r>
              <a:rPr lang="en-US" sz="1400" dirty="0"/>
              <a:t>200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239E8C-D03C-4CB0-B80F-6CB7D7C8C456}"/>
              </a:ext>
            </a:extLst>
          </p:cNvPr>
          <p:cNvSpPr txBox="1"/>
          <p:nvPr/>
        </p:nvSpPr>
        <p:spPr>
          <a:xfrm>
            <a:off x="7781244" y="2380266"/>
            <a:ext cx="1553310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Blockchain</a:t>
            </a:r>
          </a:p>
          <a:p>
            <a:pPr algn="ctr"/>
            <a:r>
              <a:rPr lang="en-US" sz="1400" dirty="0"/>
              <a:t>2018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BC7569F-C223-4757-AE72-453C9AF8AA56}"/>
              </a:ext>
            </a:extLst>
          </p:cNvPr>
          <p:cNvSpPr txBox="1"/>
          <p:nvPr/>
        </p:nvSpPr>
        <p:spPr>
          <a:xfrm>
            <a:off x="477079" y="5168348"/>
            <a:ext cx="2103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isruptive Solu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2B0A9C-87FA-42D5-869B-443ACA8AE271}"/>
              </a:ext>
            </a:extLst>
          </p:cNvPr>
          <p:cNvSpPr txBox="1"/>
          <p:nvPr/>
        </p:nvSpPr>
        <p:spPr>
          <a:xfrm>
            <a:off x="2580732" y="5076015"/>
            <a:ext cx="158870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rch Engines</a:t>
            </a:r>
          </a:p>
          <a:p>
            <a:r>
              <a:rPr lang="en-US" dirty="0"/>
              <a:t>Web browsers</a:t>
            </a:r>
          </a:p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FCDF6F-D9D8-415C-A03E-F946CFACDAFF}"/>
              </a:ext>
            </a:extLst>
          </p:cNvPr>
          <p:cNvSpPr txBox="1"/>
          <p:nvPr/>
        </p:nvSpPr>
        <p:spPr>
          <a:xfrm>
            <a:off x="5174973" y="4965999"/>
            <a:ext cx="228466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Mobile Platforms</a:t>
            </a:r>
          </a:p>
          <a:p>
            <a:r>
              <a:rPr lang="en-US" sz="1600" dirty="0"/>
              <a:t>Social Media Platforms</a:t>
            </a:r>
          </a:p>
          <a:p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01DDC64-DC3A-46DE-A834-60AB312BB4BF}"/>
              </a:ext>
            </a:extLst>
          </p:cNvPr>
          <p:cNvSpPr txBox="1"/>
          <p:nvPr/>
        </p:nvSpPr>
        <p:spPr>
          <a:xfrm>
            <a:off x="7994139" y="4875960"/>
            <a:ext cx="15138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ryptography</a:t>
            </a:r>
          </a:p>
          <a:p>
            <a:r>
              <a:rPr lang="en-US" sz="1600" dirty="0"/>
              <a:t>Cryptocurrency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B6DFFBD-EEF2-4731-955F-9EDCA0B75C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6564" y="3028890"/>
            <a:ext cx="4538409" cy="1690888"/>
          </a:xfrm>
          <a:prstGeom prst="rect">
            <a:avLst/>
          </a:prstGeom>
        </p:spPr>
      </p:pic>
      <p:pic>
        <p:nvPicPr>
          <p:cNvPr id="16" name="Content Placeholder 3">
            <a:extLst>
              <a:ext uri="{FF2B5EF4-FFF2-40B4-BE49-F238E27FC236}">
                <a16:creationId xmlns:a16="http://schemas.microsoft.com/office/drawing/2014/main" id="{20C9A402-5476-451C-A7D2-12F657727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775" y="3028890"/>
            <a:ext cx="4538409" cy="1690888"/>
          </a:xfrm>
          <a:prstGeom prst="rect">
            <a:avLst/>
          </a:prstGeom>
        </p:spPr>
      </p:pic>
      <p:pic>
        <p:nvPicPr>
          <p:cNvPr id="18" name="Content Placeholder 3">
            <a:extLst>
              <a:ext uri="{FF2B5EF4-FFF2-40B4-BE49-F238E27FC236}">
                <a16:creationId xmlns:a16="http://schemas.microsoft.com/office/drawing/2014/main" id="{9EA0CC2B-F7DA-4EAC-9F6E-2D4262B73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5350" y="3028890"/>
            <a:ext cx="4538409" cy="169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311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7945" y="1500716"/>
            <a:ext cx="5859506" cy="2187226"/>
          </a:xfrm>
        </p:spPr>
        <p:txBody>
          <a:bodyPr>
            <a:noAutofit/>
          </a:bodyPr>
          <a:lstStyle/>
          <a:p>
            <a:pPr algn="ctr"/>
            <a:r>
              <a:rPr lang="en-US" sz="3600" dirty="0"/>
              <a:t>“If you can dream it, you can do it.” </a:t>
            </a:r>
          </a:p>
          <a:p>
            <a:pPr algn="ctr"/>
            <a:r>
              <a:rPr lang="en-US" sz="3600" dirty="0"/>
              <a:t>Walt Disney</a:t>
            </a:r>
            <a:br>
              <a:rPr lang="en-US" dirty="0"/>
            </a:br>
            <a:endParaRPr lang="en-US" sz="2400" dirty="0"/>
          </a:p>
        </p:txBody>
      </p:sp>
      <p:sp>
        <p:nvSpPr>
          <p:cNvPr id="8" name="Freeform 7">
            <a:hlinkClick r:id="rId3" tooltip="Learn More"/>
          </p:cNvPr>
          <p:cNvSpPr/>
          <p:nvPr/>
        </p:nvSpPr>
        <p:spPr>
          <a:xfrm>
            <a:off x="11557038" y="6134153"/>
            <a:ext cx="431763" cy="431763"/>
          </a:xfrm>
          <a:custGeom>
            <a:avLst/>
            <a:gdLst>
              <a:gd name="connsiteX0" fmla="*/ 283692 w 643468"/>
              <a:gd name="connsiteY0" fmla="*/ 156886 h 643468"/>
              <a:gd name="connsiteX1" fmla="*/ 315574 w 643468"/>
              <a:gd name="connsiteY1" fmla="*/ 156886 h 643468"/>
              <a:gd name="connsiteX2" fmla="*/ 486582 w 643468"/>
              <a:gd name="connsiteY2" fmla="*/ 321734 h 643468"/>
              <a:gd name="connsiteX3" fmla="*/ 315574 w 643468"/>
              <a:gd name="connsiteY3" fmla="*/ 486582 h 643468"/>
              <a:gd name="connsiteX4" fmla="*/ 283692 w 643468"/>
              <a:gd name="connsiteY4" fmla="*/ 486582 h 643468"/>
              <a:gd name="connsiteX5" fmla="*/ 441545 w 643468"/>
              <a:gd name="connsiteY5" fmla="*/ 334415 h 643468"/>
              <a:gd name="connsiteX6" fmla="*/ 156887 w 643468"/>
              <a:gd name="connsiteY6" fmla="*/ 334415 h 643468"/>
              <a:gd name="connsiteX7" fmla="*/ 156887 w 643468"/>
              <a:gd name="connsiteY7" fmla="*/ 309054 h 643468"/>
              <a:gd name="connsiteX8" fmla="*/ 441545 w 643468"/>
              <a:gd name="connsiteY8" fmla="*/ 309054 h 643468"/>
              <a:gd name="connsiteX9" fmla="*/ 321733 w 643468"/>
              <a:gd name="connsiteY9" fmla="*/ 16937 h 643468"/>
              <a:gd name="connsiteX10" fmla="*/ 16936 w 643468"/>
              <a:gd name="connsiteY10" fmla="*/ 321734 h 643468"/>
              <a:gd name="connsiteX11" fmla="*/ 321733 w 643468"/>
              <a:gd name="connsiteY11" fmla="*/ 626531 h 643468"/>
              <a:gd name="connsiteX12" fmla="*/ 626530 w 643468"/>
              <a:gd name="connsiteY12" fmla="*/ 321734 h 643468"/>
              <a:gd name="connsiteX13" fmla="*/ 321733 w 643468"/>
              <a:gd name="connsiteY13" fmla="*/ 16937 h 643468"/>
              <a:gd name="connsiteX14" fmla="*/ 321734 w 643468"/>
              <a:gd name="connsiteY14" fmla="*/ 0 h 643468"/>
              <a:gd name="connsiteX15" fmla="*/ 643468 w 643468"/>
              <a:gd name="connsiteY15" fmla="*/ 321734 h 643468"/>
              <a:gd name="connsiteX16" fmla="*/ 321734 w 643468"/>
              <a:gd name="connsiteY16" fmla="*/ 643468 h 643468"/>
              <a:gd name="connsiteX17" fmla="*/ 0 w 643468"/>
              <a:gd name="connsiteY17" fmla="*/ 321734 h 643468"/>
              <a:gd name="connsiteX18" fmla="*/ 321734 w 643468"/>
              <a:gd name="connsiteY18" fmla="*/ 0 h 643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43468" h="643468">
                <a:moveTo>
                  <a:pt x="283692" y="156886"/>
                </a:moveTo>
                <a:lnTo>
                  <a:pt x="315574" y="156886"/>
                </a:lnTo>
                <a:lnTo>
                  <a:pt x="486582" y="321734"/>
                </a:lnTo>
                <a:lnTo>
                  <a:pt x="315574" y="486582"/>
                </a:lnTo>
                <a:lnTo>
                  <a:pt x="283692" y="486582"/>
                </a:lnTo>
                <a:lnTo>
                  <a:pt x="441545" y="334415"/>
                </a:lnTo>
                <a:lnTo>
                  <a:pt x="156887" y="334415"/>
                </a:lnTo>
                <a:lnTo>
                  <a:pt x="156887" y="309054"/>
                </a:lnTo>
                <a:lnTo>
                  <a:pt x="441545" y="309054"/>
                </a:lnTo>
                <a:close/>
                <a:moveTo>
                  <a:pt x="321733" y="16937"/>
                </a:moveTo>
                <a:cubicBezTo>
                  <a:pt x="153398" y="16937"/>
                  <a:pt x="16936" y="153399"/>
                  <a:pt x="16936" y="321734"/>
                </a:cubicBezTo>
                <a:cubicBezTo>
                  <a:pt x="16936" y="490069"/>
                  <a:pt x="153398" y="626531"/>
                  <a:pt x="321733" y="626531"/>
                </a:cubicBezTo>
                <a:cubicBezTo>
                  <a:pt x="490068" y="626531"/>
                  <a:pt x="626530" y="490069"/>
                  <a:pt x="626530" y="321734"/>
                </a:cubicBezTo>
                <a:cubicBezTo>
                  <a:pt x="626530" y="153399"/>
                  <a:pt x="490068" y="16937"/>
                  <a:pt x="321733" y="16937"/>
                </a:cubicBezTo>
                <a:close/>
                <a:moveTo>
                  <a:pt x="321734" y="0"/>
                </a:moveTo>
                <a:cubicBezTo>
                  <a:pt x="499423" y="0"/>
                  <a:pt x="643468" y="144045"/>
                  <a:pt x="643468" y="321734"/>
                </a:cubicBezTo>
                <a:cubicBezTo>
                  <a:pt x="643468" y="499423"/>
                  <a:pt x="499423" y="643468"/>
                  <a:pt x="321734" y="643468"/>
                </a:cubicBezTo>
                <a:cubicBezTo>
                  <a:pt x="144045" y="643468"/>
                  <a:pt x="0" y="499423"/>
                  <a:pt x="0" y="321734"/>
                </a:cubicBezTo>
                <a:cubicBezTo>
                  <a:pt x="0" y="144045"/>
                  <a:pt x="144045" y="0"/>
                  <a:pt x="321734" y="0"/>
                </a:cubicBezTo>
                <a:close/>
              </a:path>
            </a:pathLst>
          </a:custGeom>
          <a:solidFill>
            <a:srgbClr val="DD4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0666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Beginning: ICT Policy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914400" y="1828800"/>
            <a:ext cx="10261600" cy="3657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nfrastructure</a:t>
            </a:r>
          </a:p>
          <a:p>
            <a:r>
              <a:rPr lang="en-US" dirty="0"/>
              <a:t>Content, Innovation and applications</a:t>
            </a:r>
          </a:p>
          <a:p>
            <a:r>
              <a:rPr lang="en-US" dirty="0"/>
              <a:t>Capacity Development</a:t>
            </a:r>
          </a:p>
          <a:p>
            <a:r>
              <a:rPr lang="en-US" dirty="0"/>
              <a:t>Public Private Partnership</a:t>
            </a:r>
          </a:p>
          <a:p>
            <a:r>
              <a:rPr lang="en-US" dirty="0"/>
              <a:t>Employment Creation</a:t>
            </a:r>
          </a:p>
        </p:txBody>
      </p:sp>
    </p:spTree>
    <p:extLst>
      <p:ext uri="{BB962C8B-B14F-4D97-AF65-F5344CB8AC3E}">
        <p14:creationId xmlns:p14="http://schemas.microsoft.com/office/powerpoint/2010/main" val="2146725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0"/>
            <a:ext cx="8229600" cy="609600"/>
          </a:xfrm>
          <a:ln>
            <a:solidFill>
              <a:schemeClr val="tx1"/>
            </a:solidFill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 algn="l"/>
            <a:r>
              <a:rPr lang="en-IE" sz="3200" dirty="0"/>
              <a:t>What inspired us</a:t>
            </a:r>
            <a:endParaRPr lang="en-GB" sz="3200" dirty="0"/>
          </a:p>
        </p:txBody>
      </p:sp>
      <p:pic>
        <p:nvPicPr>
          <p:cNvPr id="80899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52600" y="838200"/>
            <a:ext cx="85344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566312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tart of digital transformation</a:t>
            </a:r>
            <a:endParaRPr lang="en-GB" dirty="0"/>
          </a:p>
        </p:txBody>
      </p:sp>
      <p:pic>
        <p:nvPicPr>
          <p:cNvPr id="1026" name="Picture 2" descr="Image result for africa internet connectivity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498" y="1821888"/>
            <a:ext cx="10325295" cy="492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16402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579283" y="458354"/>
            <a:ext cx="7651351" cy="353144"/>
          </a:xfrm>
          <a:prstGeom prst="rect">
            <a:avLst/>
          </a:prstGeom>
          <a:ln>
            <a:noFill/>
          </a:ln>
        </p:spPr>
        <p:txBody>
          <a:bodyPr anchor="ctr">
            <a:normAutofit fontScale="60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National Optical Fiber Backbone Infrastructure (NOFBI)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504364" y="6511926"/>
            <a:ext cx="185737" cy="1825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E87564-D838-4EC2-A994-BA18A1316C46}" type="slidenum"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388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62200" y="955676"/>
            <a:ext cx="5748338" cy="5575300"/>
          </a:xfrm>
          <a:prstGeom prst="roundRect">
            <a:avLst>
              <a:gd name="adj" fmla="val 12565"/>
            </a:avLst>
          </a:prstGeom>
          <a:solidFill>
            <a:schemeClr val="bg1"/>
          </a:solidFill>
          <a:ln w="381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389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551114" y="3017838"/>
            <a:ext cx="565861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Uganda</a:t>
            </a:r>
          </a:p>
        </p:txBody>
      </p:sp>
      <p:sp>
        <p:nvSpPr>
          <p:cNvPr id="16390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165601" y="6075363"/>
            <a:ext cx="678071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Tanzania</a:t>
            </a:r>
          </a:p>
        </p:txBody>
      </p:sp>
      <p:sp>
        <p:nvSpPr>
          <p:cNvPr id="16391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905626" y="2933700"/>
            <a:ext cx="581891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Somalia</a:t>
            </a:r>
          </a:p>
        </p:txBody>
      </p:sp>
      <p:sp>
        <p:nvSpPr>
          <p:cNvPr id="16392" name="Freeform 8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535238" y="1598613"/>
            <a:ext cx="787400" cy="404812"/>
          </a:xfrm>
          <a:custGeom>
            <a:avLst/>
            <a:gdLst>
              <a:gd name="T0" fmla="*/ 2147483647 w 496"/>
              <a:gd name="T1" fmla="*/ 0 h 264"/>
              <a:gd name="T2" fmla="*/ 2147483647 w 496"/>
              <a:gd name="T3" fmla="*/ 2147483647 h 264"/>
              <a:gd name="T4" fmla="*/ 2147483647 w 496"/>
              <a:gd name="T5" fmla="*/ 2147483647 h 264"/>
              <a:gd name="T6" fmla="*/ 2147483647 w 496"/>
              <a:gd name="T7" fmla="*/ 2147483647 h 264"/>
              <a:gd name="T8" fmla="*/ 2147483647 w 496"/>
              <a:gd name="T9" fmla="*/ 2147483647 h 264"/>
              <a:gd name="T10" fmla="*/ 2147483647 w 496"/>
              <a:gd name="T11" fmla="*/ 2147483647 h 264"/>
              <a:gd name="T12" fmla="*/ 0 w 496"/>
              <a:gd name="T13" fmla="*/ 2147483647 h 26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96"/>
              <a:gd name="T22" fmla="*/ 0 h 264"/>
              <a:gd name="T23" fmla="*/ 496 w 496"/>
              <a:gd name="T24" fmla="*/ 264 h 26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96" h="264">
                <a:moveTo>
                  <a:pt x="496" y="0"/>
                </a:moveTo>
                <a:lnTo>
                  <a:pt x="360" y="152"/>
                </a:lnTo>
                <a:lnTo>
                  <a:pt x="304" y="176"/>
                </a:lnTo>
                <a:lnTo>
                  <a:pt x="240" y="264"/>
                </a:lnTo>
                <a:lnTo>
                  <a:pt x="160" y="256"/>
                </a:lnTo>
                <a:lnTo>
                  <a:pt x="112" y="224"/>
                </a:lnTo>
                <a:lnTo>
                  <a:pt x="0" y="256"/>
                </a:lnTo>
              </a:path>
            </a:pathLst>
          </a:cu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393" name="Line 9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flipH="1" flipV="1">
            <a:off x="2509838" y="4287838"/>
            <a:ext cx="596900" cy="127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394" name="Freeform 10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570538" y="6096000"/>
            <a:ext cx="203200" cy="501650"/>
          </a:xfrm>
          <a:custGeom>
            <a:avLst/>
            <a:gdLst>
              <a:gd name="T0" fmla="*/ 2147483647 w 112"/>
              <a:gd name="T1" fmla="*/ 0 h 312"/>
              <a:gd name="T2" fmla="*/ 2147483647 w 112"/>
              <a:gd name="T3" fmla="*/ 2147483647 h 312"/>
              <a:gd name="T4" fmla="*/ 2147483647 w 112"/>
              <a:gd name="T5" fmla="*/ 2147483647 h 312"/>
              <a:gd name="T6" fmla="*/ 0 w 112"/>
              <a:gd name="T7" fmla="*/ 2147483647 h 312"/>
              <a:gd name="T8" fmla="*/ 0 60000 65536"/>
              <a:gd name="T9" fmla="*/ 0 60000 65536"/>
              <a:gd name="T10" fmla="*/ 0 60000 65536"/>
              <a:gd name="T11" fmla="*/ 0 60000 65536"/>
              <a:gd name="T12" fmla="*/ 0 w 112"/>
              <a:gd name="T13" fmla="*/ 0 h 312"/>
              <a:gd name="T14" fmla="*/ 112 w 112"/>
              <a:gd name="T15" fmla="*/ 312 h 3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2" h="312">
                <a:moveTo>
                  <a:pt x="104" y="0"/>
                </a:moveTo>
                <a:lnTo>
                  <a:pt x="88" y="80"/>
                </a:lnTo>
                <a:lnTo>
                  <a:pt x="112" y="136"/>
                </a:lnTo>
                <a:lnTo>
                  <a:pt x="0" y="312"/>
                </a:lnTo>
              </a:path>
            </a:pathLst>
          </a:cu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395" name="Freeform 11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910388" y="1522414"/>
            <a:ext cx="1200150" cy="295275"/>
          </a:xfrm>
          <a:custGeom>
            <a:avLst/>
            <a:gdLst>
              <a:gd name="T0" fmla="*/ 0 w 592"/>
              <a:gd name="T1" fmla="*/ 2147483647 h 208"/>
              <a:gd name="T2" fmla="*/ 2147483647 w 592"/>
              <a:gd name="T3" fmla="*/ 2147483647 h 208"/>
              <a:gd name="T4" fmla="*/ 2147483647 w 592"/>
              <a:gd name="T5" fmla="*/ 2147483647 h 208"/>
              <a:gd name="T6" fmla="*/ 2147483647 w 592"/>
              <a:gd name="T7" fmla="*/ 2147483647 h 208"/>
              <a:gd name="T8" fmla="*/ 2147483647 w 592"/>
              <a:gd name="T9" fmla="*/ 0 h 20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92"/>
              <a:gd name="T16" fmla="*/ 0 h 208"/>
              <a:gd name="T17" fmla="*/ 592 w 592"/>
              <a:gd name="T18" fmla="*/ 208 h 20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92" h="208">
                <a:moveTo>
                  <a:pt x="0" y="208"/>
                </a:moveTo>
                <a:lnTo>
                  <a:pt x="120" y="96"/>
                </a:lnTo>
                <a:lnTo>
                  <a:pt x="288" y="120"/>
                </a:lnTo>
                <a:lnTo>
                  <a:pt x="520" y="128"/>
                </a:lnTo>
                <a:lnTo>
                  <a:pt x="592" y="0"/>
                </a:lnTo>
              </a:path>
            </a:pathLst>
          </a:cu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396" name="Freeform 12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6875464" y="4079876"/>
            <a:ext cx="917575" cy="538163"/>
          </a:xfrm>
          <a:custGeom>
            <a:avLst/>
            <a:gdLst>
              <a:gd name="T0" fmla="*/ 0 w 368"/>
              <a:gd name="T1" fmla="*/ 2147483647 h 352"/>
              <a:gd name="T2" fmla="*/ 2147483647 w 368"/>
              <a:gd name="T3" fmla="*/ 2147483647 h 352"/>
              <a:gd name="T4" fmla="*/ 2147483647 w 368"/>
              <a:gd name="T5" fmla="*/ 2147483647 h 352"/>
              <a:gd name="T6" fmla="*/ 2147483647 w 368"/>
              <a:gd name="T7" fmla="*/ 0 h 352"/>
              <a:gd name="T8" fmla="*/ 0 60000 65536"/>
              <a:gd name="T9" fmla="*/ 0 60000 65536"/>
              <a:gd name="T10" fmla="*/ 0 60000 65536"/>
              <a:gd name="T11" fmla="*/ 0 60000 65536"/>
              <a:gd name="T12" fmla="*/ 0 w 368"/>
              <a:gd name="T13" fmla="*/ 0 h 352"/>
              <a:gd name="T14" fmla="*/ 368 w 368"/>
              <a:gd name="T15" fmla="*/ 352 h 3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68" h="352">
                <a:moveTo>
                  <a:pt x="0" y="352"/>
                </a:moveTo>
                <a:lnTo>
                  <a:pt x="176" y="80"/>
                </a:lnTo>
                <a:lnTo>
                  <a:pt x="288" y="40"/>
                </a:lnTo>
                <a:lnTo>
                  <a:pt x="368" y="0"/>
                </a:lnTo>
              </a:path>
            </a:pathLst>
          </a:cu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397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538913" y="4954588"/>
            <a:ext cx="1115690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INDIAN OCEAN</a:t>
            </a:r>
          </a:p>
        </p:txBody>
      </p:sp>
      <p:sp>
        <p:nvSpPr>
          <p:cNvPr id="16398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070476" y="1441450"/>
            <a:ext cx="602729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Ethiopia</a:t>
            </a:r>
          </a:p>
        </p:txBody>
      </p:sp>
      <p:grpSp>
        <p:nvGrpSpPr>
          <p:cNvPr id="7" name="Group 6"/>
          <p:cNvGrpSpPr/>
          <p:nvPr>
            <p:custDataLst>
              <p:tags r:id="rId12"/>
            </p:custDataLst>
          </p:nvPr>
        </p:nvGrpSpPr>
        <p:grpSpPr>
          <a:xfrm>
            <a:off x="2940050" y="1376364"/>
            <a:ext cx="4051300" cy="4751387"/>
            <a:chOff x="1416050" y="1376363"/>
            <a:chExt cx="4051300" cy="4751387"/>
          </a:xfrm>
        </p:grpSpPr>
        <p:sp>
          <p:nvSpPr>
            <p:cNvPr id="18" name="Freeform 16"/>
            <p:cNvSpPr>
              <a:spLocks/>
            </p:cNvSpPr>
            <p:nvPr/>
          </p:nvSpPr>
          <p:spPr bwMode="gray">
            <a:xfrm>
              <a:off x="5001570" y="4779792"/>
              <a:ext cx="118204" cy="84165"/>
            </a:xfrm>
            <a:custGeom>
              <a:avLst/>
              <a:gdLst>
                <a:gd name="T0" fmla="*/ 15 w 17"/>
                <a:gd name="T1" fmla="*/ 25 h 13"/>
                <a:gd name="T2" fmla="*/ 15 w 17"/>
                <a:gd name="T3" fmla="*/ 34 h 13"/>
                <a:gd name="T4" fmla="*/ 5 w 17"/>
                <a:gd name="T5" fmla="*/ 44 h 13"/>
                <a:gd name="T6" fmla="*/ 20 w 17"/>
                <a:gd name="T7" fmla="*/ 59 h 13"/>
                <a:gd name="T8" fmla="*/ 25 w 17"/>
                <a:gd name="T9" fmla="*/ 54 h 13"/>
                <a:gd name="T10" fmla="*/ 15 w 17"/>
                <a:gd name="T11" fmla="*/ 49 h 13"/>
                <a:gd name="T12" fmla="*/ 44 w 17"/>
                <a:gd name="T13" fmla="*/ 34 h 13"/>
                <a:gd name="T14" fmla="*/ 54 w 17"/>
                <a:gd name="T15" fmla="*/ 30 h 13"/>
                <a:gd name="T16" fmla="*/ 59 w 17"/>
                <a:gd name="T17" fmla="*/ 39 h 13"/>
                <a:gd name="T18" fmla="*/ 74 w 17"/>
                <a:gd name="T19" fmla="*/ 30 h 13"/>
                <a:gd name="T20" fmla="*/ 84 w 17"/>
                <a:gd name="T21" fmla="*/ 20 h 13"/>
                <a:gd name="T22" fmla="*/ 54 w 17"/>
                <a:gd name="T23" fmla="*/ 0 h 13"/>
                <a:gd name="T24" fmla="*/ 25 w 17"/>
                <a:gd name="T25" fmla="*/ 20 h 13"/>
                <a:gd name="T26" fmla="*/ 15 w 17"/>
                <a:gd name="T27" fmla="*/ 25 h 13"/>
                <a:gd name="T28" fmla="*/ 15 w 17"/>
                <a:gd name="T29" fmla="*/ 25 h 13"/>
                <a:gd name="T30" fmla="*/ 15 w 17"/>
                <a:gd name="T31" fmla="*/ 25 h 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"/>
                <a:gd name="T49" fmla="*/ 0 h 13"/>
                <a:gd name="T50" fmla="*/ 17 w 17"/>
                <a:gd name="T51" fmla="*/ 13 h 1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" h="13">
                  <a:moveTo>
                    <a:pt x="3" y="5"/>
                  </a:moveTo>
                  <a:cubicBezTo>
                    <a:pt x="3" y="5"/>
                    <a:pt x="3" y="6"/>
                    <a:pt x="3" y="7"/>
                  </a:cubicBezTo>
                  <a:cubicBezTo>
                    <a:pt x="3" y="9"/>
                    <a:pt x="0" y="8"/>
                    <a:pt x="1" y="9"/>
                  </a:cubicBezTo>
                  <a:cubicBezTo>
                    <a:pt x="1" y="11"/>
                    <a:pt x="2" y="11"/>
                    <a:pt x="4" y="12"/>
                  </a:cubicBezTo>
                  <a:cubicBezTo>
                    <a:pt x="4" y="13"/>
                    <a:pt x="6" y="13"/>
                    <a:pt x="5" y="11"/>
                  </a:cubicBezTo>
                  <a:cubicBezTo>
                    <a:pt x="5" y="11"/>
                    <a:pt x="3" y="10"/>
                    <a:pt x="3" y="10"/>
                  </a:cubicBezTo>
                  <a:cubicBezTo>
                    <a:pt x="3" y="8"/>
                    <a:pt x="9" y="10"/>
                    <a:pt x="9" y="7"/>
                  </a:cubicBezTo>
                  <a:cubicBezTo>
                    <a:pt x="9" y="5"/>
                    <a:pt x="10" y="7"/>
                    <a:pt x="11" y="6"/>
                  </a:cubicBezTo>
                  <a:cubicBezTo>
                    <a:pt x="11" y="8"/>
                    <a:pt x="12" y="8"/>
                    <a:pt x="12" y="8"/>
                  </a:cubicBezTo>
                  <a:cubicBezTo>
                    <a:pt x="13" y="8"/>
                    <a:pt x="13" y="6"/>
                    <a:pt x="15" y="6"/>
                  </a:cubicBezTo>
                  <a:cubicBezTo>
                    <a:pt x="17" y="7"/>
                    <a:pt x="17" y="5"/>
                    <a:pt x="17" y="4"/>
                  </a:cubicBezTo>
                  <a:cubicBezTo>
                    <a:pt x="17" y="3"/>
                    <a:pt x="13" y="0"/>
                    <a:pt x="11" y="0"/>
                  </a:cubicBezTo>
                  <a:cubicBezTo>
                    <a:pt x="10" y="0"/>
                    <a:pt x="7" y="3"/>
                    <a:pt x="5" y="4"/>
                  </a:cubicBezTo>
                  <a:cubicBezTo>
                    <a:pt x="3" y="4"/>
                    <a:pt x="3" y="4"/>
                    <a:pt x="3" y="5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gray">
            <a:xfrm>
              <a:off x="1435751" y="3587014"/>
              <a:ext cx="686709" cy="874529"/>
            </a:xfrm>
            <a:custGeom>
              <a:avLst/>
              <a:gdLst>
                <a:gd name="T0" fmla="*/ 242 w 99"/>
                <a:gd name="T1" fmla="*/ 128 h 135"/>
                <a:gd name="T2" fmla="*/ 197 w 99"/>
                <a:gd name="T3" fmla="*/ 128 h 135"/>
                <a:gd name="T4" fmla="*/ 197 w 99"/>
                <a:gd name="T5" fmla="*/ 89 h 135"/>
                <a:gd name="T6" fmla="*/ 163 w 99"/>
                <a:gd name="T7" fmla="*/ 44 h 135"/>
                <a:gd name="T8" fmla="*/ 113 w 99"/>
                <a:gd name="T9" fmla="*/ 5 h 135"/>
                <a:gd name="T10" fmla="*/ 74 w 99"/>
                <a:gd name="T11" fmla="*/ 20 h 135"/>
                <a:gd name="T12" fmla="*/ 35 w 99"/>
                <a:gd name="T13" fmla="*/ 54 h 135"/>
                <a:gd name="T14" fmla="*/ 0 w 99"/>
                <a:gd name="T15" fmla="*/ 113 h 135"/>
                <a:gd name="T16" fmla="*/ 15 w 99"/>
                <a:gd name="T17" fmla="*/ 148 h 135"/>
                <a:gd name="T18" fmla="*/ 35 w 99"/>
                <a:gd name="T19" fmla="*/ 143 h 135"/>
                <a:gd name="T20" fmla="*/ 44 w 99"/>
                <a:gd name="T21" fmla="*/ 153 h 135"/>
                <a:gd name="T22" fmla="*/ 35 w 99"/>
                <a:gd name="T23" fmla="*/ 172 h 135"/>
                <a:gd name="T24" fmla="*/ 79 w 99"/>
                <a:gd name="T25" fmla="*/ 207 h 135"/>
                <a:gd name="T26" fmla="*/ 94 w 99"/>
                <a:gd name="T27" fmla="*/ 236 h 135"/>
                <a:gd name="T28" fmla="*/ 118 w 99"/>
                <a:gd name="T29" fmla="*/ 261 h 135"/>
                <a:gd name="T30" fmla="*/ 148 w 99"/>
                <a:gd name="T31" fmla="*/ 222 h 135"/>
                <a:gd name="T32" fmla="*/ 163 w 99"/>
                <a:gd name="T33" fmla="*/ 182 h 135"/>
                <a:gd name="T34" fmla="*/ 217 w 99"/>
                <a:gd name="T35" fmla="*/ 172 h 135"/>
                <a:gd name="T36" fmla="*/ 246 w 99"/>
                <a:gd name="T37" fmla="*/ 153 h 135"/>
                <a:gd name="T38" fmla="*/ 256 w 99"/>
                <a:gd name="T39" fmla="*/ 153 h 135"/>
                <a:gd name="T40" fmla="*/ 301 w 99"/>
                <a:gd name="T41" fmla="*/ 212 h 135"/>
                <a:gd name="T42" fmla="*/ 301 w 99"/>
                <a:gd name="T43" fmla="*/ 236 h 135"/>
                <a:gd name="T44" fmla="*/ 276 w 99"/>
                <a:gd name="T45" fmla="*/ 232 h 135"/>
                <a:gd name="T46" fmla="*/ 266 w 99"/>
                <a:gd name="T47" fmla="*/ 251 h 135"/>
                <a:gd name="T48" fmla="*/ 163 w 99"/>
                <a:gd name="T49" fmla="*/ 261 h 135"/>
                <a:gd name="T50" fmla="*/ 158 w 99"/>
                <a:gd name="T51" fmla="*/ 320 h 135"/>
                <a:gd name="T52" fmla="*/ 153 w 99"/>
                <a:gd name="T53" fmla="*/ 291 h 135"/>
                <a:gd name="T54" fmla="*/ 128 w 99"/>
                <a:gd name="T55" fmla="*/ 300 h 135"/>
                <a:gd name="T56" fmla="*/ 104 w 99"/>
                <a:gd name="T57" fmla="*/ 300 h 135"/>
                <a:gd name="T58" fmla="*/ 59 w 99"/>
                <a:gd name="T59" fmla="*/ 320 h 135"/>
                <a:gd name="T60" fmla="*/ 25 w 99"/>
                <a:gd name="T61" fmla="*/ 340 h 135"/>
                <a:gd name="T62" fmla="*/ 15 w 99"/>
                <a:gd name="T63" fmla="*/ 384 h 135"/>
                <a:gd name="T64" fmla="*/ 49 w 99"/>
                <a:gd name="T65" fmla="*/ 468 h 135"/>
                <a:gd name="T66" fmla="*/ 35 w 99"/>
                <a:gd name="T67" fmla="*/ 493 h 135"/>
                <a:gd name="T68" fmla="*/ 25 w 99"/>
                <a:gd name="T69" fmla="*/ 517 h 135"/>
                <a:gd name="T70" fmla="*/ 271 w 99"/>
                <a:gd name="T71" fmla="*/ 665 h 135"/>
                <a:gd name="T72" fmla="*/ 251 w 99"/>
                <a:gd name="T73" fmla="*/ 586 h 135"/>
                <a:gd name="T74" fmla="*/ 217 w 99"/>
                <a:gd name="T75" fmla="*/ 522 h 135"/>
                <a:gd name="T76" fmla="*/ 261 w 99"/>
                <a:gd name="T77" fmla="*/ 493 h 135"/>
                <a:gd name="T78" fmla="*/ 365 w 99"/>
                <a:gd name="T79" fmla="*/ 463 h 135"/>
                <a:gd name="T80" fmla="*/ 394 w 99"/>
                <a:gd name="T81" fmla="*/ 414 h 135"/>
                <a:gd name="T82" fmla="*/ 389 w 99"/>
                <a:gd name="T83" fmla="*/ 365 h 135"/>
                <a:gd name="T84" fmla="*/ 365 w 99"/>
                <a:gd name="T85" fmla="*/ 256 h 135"/>
                <a:gd name="T86" fmla="*/ 384 w 99"/>
                <a:gd name="T87" fmla="*/ 207 h 135"/>
                <a:gd name="T88" fmla="*/ 424 w 99"/>
                <a:gd name="T89" fmla="*/ 182 h 135"/>
                <a:gd name="T90" fmla="*/ 478 w 99"/>
                <a:gd name="T91" fmla="*/ 212 h 135"/>
                <a:gd name="T92" fmla="*/ 463 w 99"/>
                <a:gd name="T93" fmla="*/ 148 h 135"/>
                <a:gd name="T94" fmla="*/ 409 w 99"/>
                <a:gd name="T95" fmla="*/ 123 h 135"/>
                <a:gd name="T96" fmla="*/ 281 w 99"/>
                <a:gd name="T97" fmla="*/ 128 h 135"/>
                <a:gd name="T98" fmla="*/ 276 w 99"/>
                <a:gd name="T99" fmla="*/ 128 h 13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9"/>
                <a:gd name="T151" fmla="*/ 0 h 135"/>
                <a:gd name="T152" fmla="*/ 99 w 99"/>
                <a:gd name="T153" fmla="*/ 135 h 13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9" h="135">
                  <a:moveTo>
                    <a:pt x="56" y="26"/>
                  </a:moveTo>
                  <a:cubicBezTo>
                    <a:pt x="53" y="24"/>
                    <a:pt x="51" y="26"/>
                    <a:pt x="49" y="26"/>
                  </a:cubicBezTo>
                  <a:cubicBezTo>
                    <a:pt x="48" y="26"/>
                    <a:pt x="47" y="24"/>
                    <a:pt x="44" y="24"/>
                  </a:cubicBezTo>
                  <a:cubicBezTo>
                    <a:pt x="43" y="24"/>
                    <a:pt x="42" y="26"/>
                    <a:pt x="40" y="26"/>
                  </a:cubicBezTo>
                  <a:cubicBezTo>
                    <a:pt x="39" y="26"/>
                    <a:pt x="39" y="23"/>
                    <a:pt x="39" y="22"/>
                  </a:cubicBezTo>
                  <a:cubicBezTo>
                    <a:pt x="39" y="20"/>
                    <a:pt x="40" y="20"/>
                    <a:pt x="40" y="18"/>
                  </a:cubicBezTo>
                  <a:cubicBezTo>
                    <a:pt x="40" y="15"/>
                    <a:pt x="37" y="16"/>
                    <a:pt x="36" y="15"/>
                  </a:cubicBezTo>
                  <a:cubicBezTo>
                    <a:pt x="33" y="14"/>
                    <a:pt x="34" y="10"/>
                    <a:pt x="33" y="9"/>
                  </a:cubicBezTo>
                  <a:cubicBezTo>
                    <a:pt x="32" y="6"/>
                    <a:pt x="30" y="0"/>
                    <a:pt x="27" y="0"/>
                  </a:cubicBezTo>
                  <a:cubicBezTo>
                    <a:pt x="25" y="0"/>
                    <a:pt x="25" y="1"/>
                    <a:pt x="23" y="1"/>
                  </a:cubicBezTo>
                  <a:cubicBezTo>
                    <a:pt x="22" y="1"/>
                    <a:pt x="21" y="0"/>
                    <a:pt x="20" y="0"/>
                  </a:cubicBezTo>
                  <a:cubicBezTo>
                    <a:pt x="16" y="0"/>
                    <a:pt x="17" y="3"/>
                    <a:pt x="15" y="4"/>
                  </a:cubicBezTo>
                  <a:cubicBezTo>
                    <a:pt x="13" y="5"/>
                    <a:pt x="12" y="4"/>
                    <a:pt x="10" y="4"/>
                  </a:cubicBezTo>
                  <a:cubicBezTo>
                    <a:pt x="7" y="6"/>
                    <a:pt x="7" y="8"/>
                    <a:pt x="7" y="11"/>
                  </a:cubicBezTo>
                  <a:cubicBezTo>
                    <a:pt x="7" y="15"/>
                    <a:pt x="4" y="15"/>
                    <a:pt x="3" y="17"/>
                  </a:cubicBezTo>
                  <a:cubicBezTo>
                    <a:pt x="1" y="19"/>
                    <a:pt x="3" y="23"/>
                    <a:pt x="0" y="23"/>
                  </a:cubicBezTo>
                  <a:cubicBezTo>
                    <a:pt x="0" y="23"/>
                    <a:pt x="0" y="27"/>
                    <a:pt x="1" y="27"/>
                  </a:cubicBezTo>
                  <a:cubicBezTo>
                    <a:pt x="3" y="28"/>
                    <a:pt x="1" y="30"/>
                    <a:pt x="3" y="30"/>
                  </a:cubicBezTo>
                  <a:cubicBezTo>
                    <a:pt x="4" y="29"/>
                    <a:pt x="4" y="31"/>
                    <a:pt x="4" y="31"/>
                  </a:cubicBezTo>
                  <a:cubicBezTo>
                    <a:pt x="7" y="33"/>
                    <a:pt x="5" y="29"/>
                    <a:pt x="7" y="29"/>
                  </a:cubicBezTo>
                  <a:cubicBezTo>
                    <a:pt x="7" y="29"/>
                    <a:pt x="9" y="28"/>
                    <a:pt x="10" y="29"/>
                  </a:cubicBezTo>
                  <a:cubicBezTo>
                    <a:pt x="10" y="30"/>
                    <a:pt x="10" y="30"/>
                    <a:pt x="9" y="31"/>
                  </a:cubicBezTo>
                  <a:cubicBezTo>
                    <a:pt x="8" y="31"/>
                    <a:pt x="12" y="31"/>
                    <a:pt x="9" y="34"/>
                  </a:cubicBezTo>
                  <a:cubicBezTo>
                    <a:pt x="8" y="34"/>
                    <a:pt x="7" y="33"/>
                    <a:pt x="7" y="35"/>
                  </a:cubicBezTo>
                  <a:cubicBezTo>
                    <a:pt x="7" y="38"/>
                    <a:pt x="10" y="40"/>
                    <a:pt x="12" y="39"/>
                  </a:cubicBezTo>
                  <a:cubicBezTo>
                    <a:pt x="15" y="38"/>
                    <a:pt x="13" y="42"/>
                    <a:pt x="16" y="42"/>
                  </a:cubicBezTo>
                  <a:cubicBezTo>
                    <a:pt x="18" y="42"/>
                    <a:pt x="20" y="44"/>
                    <a:pt x="19" y="46"/>
                  </a:cubicBezTo>
                  <a:cubicBezTo>
                    <a:pt x="19" y="46"/>
                    <a:pt x="19" y="46"/>
                    <a:pt x="19" y="48"/>
                  </a:cubicBezTo>
                  <a:cubicBezTo>
                    <a:pt x="19" y="50"/>
                    <a:pt x="21" y="51"/>
                    <a:pt x="21" y="53"/>
                  </a:cubicBezTo>
                  <a:cubicBezTo>
                    <a:pt x="20" y="55"/>
                    <a:pt x="23" y="56"/>
                    <a:pt x="24" y="53"/>
                  </a:cubicBezTo>
                  <a:cubicBezTo>
                    <a:pt x="24" y="53"/>
                    <a:pt x="29" y="48"/>
                    <a:pt x="29" y="47"/>
                  </a:cubicBezTo>
                  <a:cubicBezTo>
                    <a:pt x="30" y="46"/>
                    <a:pt x="30" y="46"/>
                    <a:pt x="30" y="45"/>
                  </a:cubicBezTo>
                  <a:cubicBezTo>
                    <a:pt x="30" y="42"/>
                    <a:pt x="27" y="42"/>
                    <a:pt x="27" y="40"/>
                  </a:cubicBezTo>
                  <a:cubicBezTo>
                    <a:pt x="27" y="37"/>
                    <a:pt x="30" y="39"/>
                    <a:pt x="33" y="37"/>
                  </a:cubicBezTo>
                  <a:cubicBezTo>
                    <a:pt x="34" y="37"/>
                    <a:pt x="37" y="38"/>
                    <a:pt x="39" y="38"/>
                  </a:cubicBezTo>
                  <a:cubicBezTo>
                    <a:pt x="41" y="38"/>
                    <a:pt x="42" y="35"/>
                    <a:pt x="44" y="35"/>
                  </a:cubicBezTo>
                  <a:cubicBezTo>
                    <a:pt x="47" y="34"/>
                    <a:pt x="48" y="32"/>
                    <a:pt x="50" y="31"/>
                  </a:cubicBezTo>
                  <a:lnTo>
                    <a:pt x="52" y="31"/>
                  </a:lnTo>
                  <a:cubicBezTo>
                    <a:pt x="52" y="35"/>
                    <a:pt x="57" y="36"/>
                    <a:pt x="59" y="39"/>
                  </a:cubicBezTo>
                  <a:cubicBezTo>
                    <a:pt x="60" y="40"/>
                    <a:pt x="59" y="42"/>
                    <a:pt x="61" y="43"/>
                  </a:cubicBezTo>
                  <a:cubicBezTo>
                    <a:pt x="61" y="44"/>
                    <a:pt x="63" y="45"/>
                    <a:pt x="63" y="46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59" y="48"/>
                    <a:pt x="61" y="46"/>
                    <a:pt x="58" y="46"/>
                  </a:cubicBezTo>
                  <a:cubicBezTo>
                    <a:pt x="58" y="46"/>
                    <a:pt x="56" y="47"/>
                    <a:pt x="56" y="47"/>
                  </a:cubicBezTo>
                  <a:cubicBezTo>
                    <a:pt x="56" y="49"/>
                    <a:pt x="56" y="48"/>
                    <a:pt x="56" y="51"/>
                  </a:cubicBezTo>
                  <a:cubicBezTo>
                    <a:pt x="55" y="50"/>
                    <a:pt x="56" y="51"/>
                    <a:pt x="54" y="51"/>
                  </a:cubicBezTo>
                  <a:cubicBezTo>
                    <a:pt x="50" y="51"/>
                    <a:pt x="47" y="49"/>
                    <a:pt x="41" y="49"/>
                  </a:cubicBezTo>
                  <a:cubicBezTo>
                    <a:pt x="37" y="49"/>
                    <a:pt x="33" y="48"/>
                    <a:pt x="33" y="53"/>
                  </a:cubicBezTo>
                  <a:cubicBezTo>
                    <a:pt x="33" y="56"/>
                    <a:pt x="34" y="57"/>
                    <a:pt x="37" y="58"/>
                  </a:cubicBezTo>
                  <a:cubicBezTo>
                    <a:pt x="40" y="60"/>
                    <a:pt x="34" y="65"/>
                    <a:pt x="32" y="65"/>
                  </a:cubicBezTo>
                  <a:cubicBezTo>
                    <a:pt x="29" y="65"/>
                    <a:pt x="31" y="63"/>
                    <a:pt x="32" y="63"/>
                  </a:cubicBezTo>
                  <a:cubicBezTo>
                    <a:pt x="31" y="62"/>
                    <a:pt x="31" y="58"/>
                    <a:pt x="31" y="59"/>
                  </a:cubicBezTo>
                  <a:cubicBezTo>
                    <a:pt x="30" y="59"/>
                    <a:pt x="28" y="58"/>
                    <a:pt x="27" y="58"/>
                  </a:cubicBezTo>
                  <a:cubicBezTo>
                    <a:pt x="27" y="60"/>
                    <a:pt x="27" y="61"/>
                    <a:pt x="26" y="61"/>
                  </a:cubicBezTo>
                  <a:cubicBezTo>
                    <a:pt x="25" y="61"/>
                    <a:pt x="24" y="58"/>
                    <a:pt x="23" y="59"/>
                  </a:cubicBezTo>
                  <a:cubicBezTo>
                    <a:pt x="22" y="61"/>
                    <a:pt x="23" y="61"/>
                    <a:pt x="21" y="61"/>
                  </a:cubicBezTo>
                  <a:cubicBezTo>
                    <a:pt x="20" y="60"/>
                    <a:pt x="20" y="57"/>
                    <a:pt x="17" y="57"/>
                  </a:cubicBezTo>
                  <a:cubicBezTo>
                    <a:pt x="11" y="57"/>
                    <a:pt x="14" y="63"/>
                    <a:pt x="12" y="65"/>
                  </a:cubicBezTo>
                  <a:cubicBezTo>
                    <a:pt x="10" y="67"/>
                    <a:pt x="8" y="63"/>
                    <a:pt x="7" y="66"/>
                  </a:cubicBezTo>
                  <a:cubicBezTo>
                    <a:pt x="7" y="68"/>
                    <a:pt x="4" y="66"/>
                    <a:pt x="5" y="69"/>
                  </a:cubicBezTo>
                  <a:cubicBezTo>
                    <a:pt x="5" y="70"/>
                    <a:pt x="6" y="70"/>
                    <a:pt x="6" y="70"/>
                  </a:cubicBezTo>
                  <a:cubicBezTo>
                    <a:pt x="6" y="73"/>
                    <a:pt x="3" y="74"/>
                    <a:pt x="3" y="78"/>
                  </a:cubicBezTo>
                  <a:cubicBezTo>
                    <a:pt x="3" y="84"/>
                    <a:pt x="7" y="89"/>
                    <a:pt x="12" y="91"/>
                  </a:cubicBezTo>
                  <a:cubicBezTo>
                    <a:pt x="17" y="92"/>
                    <a:pt x="12" y="95"/>
                    <a:pt x="10" y="95"/>
                  </a:cubicBezTo>
                  <a:cubicBezTo>
                    <a:pt x="9" y="95"/>
                    <a:pt x="10" y="99"/>
                    <a:pt x="10" y="100"/>
                  </a:cubicBezTo>
                  <a:cubicBezTo>
                    <a:pt x="9" y="103"/>
                    <a:pt x="7" y="102"/>
                    <a:pt x="7" y="100"/>
                  </a:cubicBezTo>
                  <a:cubicBezTo>
                    <a:pt x="5" y="101"/>
                    <a:pt x="4" y="100"/>
                    <a:pt x="4" y="103"/>
                  </a:cubicBezTo>
                  <a:cubicBezTo>
                    <a:pt x="4" y="104"/>
                    <a:pt x="6" y="104"/>
                    <a:pt x="5" y="105"/>
                  </a:cubicBezTo>
                  <a:lnTo>
                    <a:pt x="55" y="135"/>
                  </a:lnTo>
                  <a:cubicBezTo>
                    <a:pt x="54" y="130"/>
                    <a:pt x="52" y="121"/>
                    <a:pt x="51" y="119"/>
                  </a:cubicBezTo>
                  <a:cubicBezTo>
                    <a:pt x="48" y="115"/>
                    <a:pt x="48" y="114"/>
                    <a:pt x="47" y="111"/>
                  </a:cubicBezTo>
                  <a:cubicBezTo>
                    <a:pt x="43" y="110"/>
                    <a:pt x="46" y="108"/>
                    <a:pt x="44" y="106"/>
                  </a:cubicBezTo>
                  <a:cubicBezTo>
                    <a:pt x="42" y="103"/>
                    <a:pt x="45" y="101"/>
                    <a:pt x="45" y="101"/>
                  </a:cubicBezTo>
                  <a:cubicBezTo>
                    <a:pt x="47" y="99"/>
                    <a:pt x="50" y="100"/>
                    <a:pt x="53" y="100"/>
                  </a:cubicBezTo>
                  <a:cubicBezTo>
                    <a:pt x="57" y="100"/>
                    <a:pt x="59" y="99"/>
                    <a:pt x="63" y="98"/>
                  </a:cubicBezTo>
                  <a:cubicBezTo>
                    <a:pt x="67" y="97"/>
                    <a:pt x="71" y="95"/>
                    <a:pt x="74" y="94"/>
                  </a:cubicBezTo>
                  <a:cubicBezTo>
                    <a:pt x="77" y="93"/>
                    <a:pt x="74" y="90"/>
                    <a:pt x="76" y="89"/>
                  </a:cubicBezTo>
                  <a:cubicBezTo>
                    <a:pt x="77" y="88"/>
                    <a:pt x="80" y="87"/>
                    <a:pt x="80" y="84"/>
                  </a:cubicBezTo>
                  <a:cubicBezTo>
                    <a:pt x="80" y="82"/>
                    <a:pt x="78" y="80"/>
                    <a:pt x="78" y="77"/>
                  </a:cubicBezTo>
                  <a:cubicBezTo>
                    <a:pt x="78" y="76"/>
                    <a:pt x="79" y="75"/>
                    <a:pt x="79" y="74"/>
                  </a:cubicBezTo>
                  <a:cubicBezTo>
                    <a:pt x="79" y="71"/>
                    <a:pt x="77" y="67"/>
                    <a:pt x="77" y="62"/>
                  </a:cubicBezTo>
                  <a:cubicBezTo>
                    <a:pt x="77" y="58"/>
                    <a:pt x="74" y="52"/>
                    <a:pt x="74" y="52"/>
                  </a:cubicBezTo>
                  <a:cubicBezTo>
                    <a:pt x="74" y="51"/>
                    <a:pt x="77" y="48"/>
                    <a:pt x="78" y="47"/>
                  </a:cubicBezTo>
                  <a:cubicBezTo>
                    <a:pt x="79" y="46"/>
                    <a:pt x="78" y="44"/>
                    <a:pt x="78" y="42"/>
                  </a:cubicBezTo>
                  <a:cubicBezTo>
                    <a:pt x="78" y="40"/>
                    <a:pt x="83" y="34"/>
                    <a:pt x="85" y="34"/>
                  </a:cubicBezTo>
                  <a:cubicBezTo>
                    <a:pt x="86" y="34"/>
                    <a:pt x="86" y="37"/>
                    <a:pt x="86" y="37"/>
                  </a:cubicBezTo>
                  <a:cubicBezTo>
                    <a:pt x="88" y="39"/>
                    <a:pt x="89" y="37"/>
                    <a:pt x="90" y="37"/>
                  </a:cubicBezTo>
                  <a:cubicBezTo>
                    <a:pt x="94" y="38"/>
                    <a:pt x="93" y="43"/>
                    <a:pt x="97" y="43"/>
                  </a:cubicBezTo>
                  <a:cubicBezTo>
                    <a:pt x="99" y="43"/>
                    <a:pt x="99" y="42"/>
                    <a:pt x="99" y="40"/>
                  </a:cubicBezTo>
                  <a:cubicBezTo>
                    <a:pt x="99" y="35"/>
                    <a:pt x="95" y="35"/>
                    <a:pt x="94" y="30"/>
                  </a:cubicBezTo>
                  <a:cubicBezTo>
                    <a:pt x="91" y="30"/>
                    <a:pt x="92" y="28"/>
                    <a:pt x="91" y="27"/>
                  </a:cubicBezTo>
                  <a:cubicBezTo>
                    <a:pt x="89" y="26"/>
                    <a:pt x="84" y="26"/>
                    <a:pt x="83" y="25"/>
                  </a:cubicBezTo>
                  <a:cubicBezTo>
                    <a:pt x="82" y="27"/>
                    <a:pt x="80" y="28"/>
                    <a:pt x="78" y="28"/>
                  </a:cubicBezTo>
                  <a:cubicBezTo>
                    <a:pt x="76" y="28"/>
                    <a:pt x="57" y="27"/>
                    <a:pt x="57" y="26"/>
                  </a:cubicBezTo>
                  <a:lnTo>
                    <a:pt x="56" y="2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gray">
            <a:xfrm>
              <a:off x="3281984" y="3742193"/>
              <a:ext cx="2031982" cy="2385557"/>
            </a:xfrm>
            <a:custGeom>
              <a:avLst/>
              <a:gdLst>
                <a:gd name="T0" fmla="*/ 197 w 293"/>
                <a:gd name="T1" fmla="*/ 1045 h 368"/>
                <a:gd name="T2" fmla="*/ 325 w 293"/>
                <a:gd name="T3" fmla="*/ 1149 h 368"/>
                <a:gd name="T4" fmla="*/ 483 w 293"/>
                <a:gd name="T5" fmla="*/ 1173 h 368"/>
                <a:gd name="T6" fmla="*/ 537 w 293"/>
                <a:gd name="T7" fmla="*/ 1158 h 368"/>
                <a:gd name="T8" fmla="*/ 389 w 293"/>
                <a:gd name="T9" fmla="*/ 937 h 368"/>
                <a:gd name="T10" fmla="*/ 478 w 293"/>
                <a:gd name="T11" fmla="*/ 823 h 368"/>
                <a:gd name="T12" fmla="*/ 513 w 293"/>
                <a:gd name="T13" fmla="*/ 656 h 368"/>
                <a:gd name="T14" fmla="*/ 306 w 293"/>
                <a:gd name="T15" fmla="*/ 35 h 368"/>
                <a:gd name="T16" fmla="*/ 355 w 293"/>
                <a:gd name="T17" fmla="*/ 0 h 368"/>
                <a:gd name="T18" fmla="*/ 448 w 293"/>
                <a:gd name="T19" fmla="*/ 15 h 368"/>
                <a:gd name="T20" fmla="*/ 685 w 293"/>
                <a:gd name="T21" fmla="*/ 59 h 368"/>
                <a:gd name="T22" fmla="*/ 808 w 293"/>
                <a:gd name="T23" fmla="*/ 212 h 368"/>
                <a:gd name="T24" fmla="*/ 872 w 293"/>
                <a:gd name="T25" fmla="*/ 399 h 368"/>
                <a:gd name="T26" fmla="*/ 902 w 293"/>
                <a:gd name="T27" fmla="*/ 527 h 368"/>
                <a:gd name="T28" fmla="*/ 946 w 293"/>
                <a:gd name="T29" fmla="*/ 715 h 368"/>
                <a:gd name="T30" fmla="*/ 1444 w 293"/>
                <a:gd name="T31" fmla="*/ 636 h 368"/>
                <a:gd name="T32" fmla="*/ 1405 w 293"/>
                <a:gd name="T33" fmla="*/ 705 h 368"/>
                <a:gd name="T34" fmla="*/ 1331 w 293"/>
                <a:gd name="T35" fmla="*/ 759 h 368"/>
                <a:gd name="T36" fmla="*/ 1291 w 293"/>
                <a:gd name="T37" fmla="*/ 769 h 368"/>
                <a:gd name="T38" fmla="*/ 1242 w 293"/>
                <a:gd name="T39" fmla="*/ 749 h 368"/>
                <a:gd name="T40" fmla="*/ 1232 w 293"/>
                <a:gd name="T41" fmla="*/ 803 h 368"/>
                <a:gd name="T42" fmla="*/ 1198 w 293"/>
                <a:gd name="T43" fmla="*/ 784 h 368"/>
                <a:gd name="T44" fmla="*/ 1212 w 293"/>
                <a:gd name="T45" fmla="*/ 833 h 368"/>
                <a:gd name="T46" fmla="*/ 1217 w 293"/>
                <a:gd name="T47" fmla="*/ 897 h 368"/>
                <a:gd name="T48" fmla="*/ 1198 w 293"/>
                <a:gd name="T49" fmla="*/ 863 h 368"/>
                <a:gd name="T50" fmla="*/ 1183 w 293"/>
                <a:gd name="T51" fmla="*/ 897 h 368"/>
                <a:gd name="T52" fmla="*/ 1183 w 293"/>
                <a:gd name="T53" fmla="*/ 922 h 368"/>
                <a:gd name="T54" fmla="*/ 1109 w 293"/>
                <a:gd name="T55" fmla="*/ 991 h 368"/>
                <a:gd name="T56" fmla="*/ 941 w 293"/>
                <a:gd name="T57" fmla="*/ 1080 h 368"/>
                <a:gd name="T58" fmla="*/ 946 w 293"/>
                <a:gd name="T59" fmla="*/ 1149 h 368"/>
                <a:gd name="T60" fmla="*/ 941 w 293"/>
                <a:gd name="T61" fmla="*/ 1208 h 368"/>
                <a:gd name="T62" fmla="*/ 927 w 293"/>
                <a:gd name="T63" fmla="*/ 1272 h 368"/>
                <a:gd name="T64" fmla="*/ 867 w 293"/>
                <a:gd name="T65" fmla="*/ 1291 h 368"/>
                <a:gd name="T66" fmla="*/ 843 w 293"/>
                <a:gd name="T67" fmla="*/ 1375 h 368"/>
                <a:gd name="T68" fmla="*/ 798 w 293"/>
                <a:gd name="T69" fmla="*/ 1395 h 368"/>
                <a:gd name="T70" fmla="*/ 833 w 293"/>
                <a:gd name="T71" fmla="*/ 1415 h 368"/>
                <a:gd name="T72" fmla="*/ 779 w 293"/>
                <a:gd name="T73" fmla="*/ 1528 h 368"/>
                <a:gd name="T74" fmla="*/ 784 w 293"/>
                <a:gd name="T75" fmla="*/ 1543 h 368"/>
                <a:gd name="T76" fmla="*/ 749 w 293"/>
                <a:gd name="T77" fmla="*/ 1548 h 368"/>
                <a:gd name="T78" fmla="*/ 739 w 293"/>
                <a:gd name="T79" fmla="*/ 1568 h 368"/>
                <a:gd name="T80" fmla="*/ 759 w 293"/>
                <a:gd name="T81" fmla="*/ 1587 h 368"/>
                <a:gd name="T82" fmla="*/ 710 w 293"/>
                <a:gd name="T83" fmla="*/ 1720 h 368"/>
                <a:gd name="T84" fmla="*/ 685 w 293"/>
                <a:gd name="T85" fmla="*/ 1775 h 368"/>
                <a:gd name="T86" fmla="*/ 660 w 293"/>
                <a:gd name="T87" fmla="*/ 1784 h 368"/>
                <a:gd name="T88" fmla="*/ 631 w 293"/>
                <a:gd name="T89" fmla="*/ 1794 h 368"/>
                <a:gd name="T90" fmla="*/ 586 w 293"/>
                <a:gd name="T91" fmla="*/ 1814 h 368"/>
                <a:gd name="T92" fmla="*/ 69 w 293"/>
                <a:gd name="T93" fmla="*/ 1415 h 368"/>
                <a:gd name="T94" fmla="*/ 15 w 293"/>
                <a:gd name="T95" fmla="*/ 1346 h 368"/>
                <a:gd name="T96" fmla="*/ 34 w 293"/>
                <a:gd name="T97" fmla="*/ 1232 h 368"/>
                <a:gd name="T98" fmla="*/ 118 w 293"/>
                <a:gd name="T99" fmla="*/ 1109 h 368"/>
                <a:gd name="T100" fmla="*/ 123 w 293"/>
                <a:gd name="T101" fmla="*/ 1080 h 3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93"/>
                <a:gd name="T154" fmla="*/ 0 h 368"/>
                <a:gd name="T155" fmla="*/ 293 w 293"/>
                <a:gd name="T156" fmla="*/ 368 h 36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93" h="368">
                  <a:moveTo>
                    <a:pt x="25" y="219"/>
                  </a:moveTo>
                  <a:lnTo>
                    <a:pt x="32" y="217"/>
                  </a:lnTo>
                  <a:cubicBezTo>
                    <a:pt x="36" y="215"/>
                    <a:pt x="39" y="211"/>
                    <a:pt x="40" y="212"/>
                  </a:cubicBezTo>
                  <a:cubicBezTo>
                    <a:pt x="44" y="213"/>
                    <a:pt x="52" y="217"/>
                    <a:pt x="54" y="220"/>
                  </a:cubicBezTo>
                  <a:cubicBezTo>
                    <a:pt x="55" y="222"/>
                    <a:pt x="54" y="225"/>
                    <a:pt x="55" y="227"/>
                  </a:cubicBezTo>
                  <a:cubicBezTo>
                    <a:pt x="56" y="230"/>
                    <a:pt x="61" y="229"/>
                    <a:pt x="63" y="231"/>
                  </a:cubicBezTo>
                  <a:cubicBezTo>
                    <a:pt x="64" y="232"/>
                    <a:pt x="65" y="233"/>
                    <a:pt x="66" y="233"/>
                  </a:cubicBezTo>
                  <a:cubicBezTo>
                    <a:pt x="68" y="233"/>
                    <a:pt x="71" y="231"/>
                    <a:pt x="75" y="233"/>
                  </a:cubicBezTo>
                  <a:cubicBezTo>
                    <a:pt x="79" y="236"/>
                    <a:pt x="79" y="238"/>
                    <a:pt x="85" y="238"/>
                  </a:cubicBezTo>
                  <a:cubicBezTo>
                    <a:pt x="88" y="238"/>
                    <a:pt x="88" y="240"/>
                    <a:pt x="91" y="240"/>
                  </a:cubicBezTo>
                  <a:cubicBezTo>
                    <a:pt x="94" y="240"/>
                    <a:pt x="95" y="239"/>
                    <a:pt x="98" y="238"/>
                  </a:cubicBezTo>
                  <a:lnTo>
                    <a:pt x="108" y="238"/>
                  </a:lnTo>
                  <a:cubicBezTo>
                    <a:pt x="108" y="237"/>
                    <a:pt x="109" y="237"/>
                    <a:pt x="109" y="235"/>
                  </a:cubicBezTo>
                  <a:cubicBezTo>
                    <a:pt x="109" y="234"/>
                    <a:pt x="107" y="233"/>
                    <a:pt x="107" y="232"/>
                  </a:cubicBezTo>
                  <a:cubicBezTo>
                    <a:pt x="104" y="228"/>
                    <a:pt x="101" y="225"/>
                    <a:pt x="98" y="220"/>
                  </a:cubicBezTo>
                  <a:lnTo>
                    <a:pt x="79" y="190"/>
                  </a:lnTo>
                  <a:cubicBezTo>
                    <a:pt x="79" y="187"/>
                    <a:pt x="81" y="189"/>
                    <a:pt x="82" y="189"/>
                  </a:cubicBezTo>
                  <a:cubicBezTo>
                    <a:pt x="85" y="189"/>
                    <a:pt x="84" y="185"/>
                    <a:pt x="86" y="185"/>
                  </a:cubicBezTo>
                  <a:cubicBezTo>
                    <a:pt x="92" y="184"/>
                    <a:pt x="94" y="173"/>
                    <a:pt x="97" y="167"/>
                  </a:cubicBezTo>
                  <a:cubicBezTo>
                    <a:pt x="101" y="159"/>
                    <a:pt x="104" y="157"/>
                    <a:pt x="104" y="147"/>
                  </a:cubicBezTo>
                  <a:cubicBezTo>
                    <a:pt x="104" y="143"/>
                    <a:pt x="102" y="138"/>
                    <a:pt x="102" y="138"/>
                  </a:cubicBezTo>
                  <a:cubicBezTo>
                    <a:pt x="102" y="137"/>
                    <a:pt x="102" y="137"/>
                    <a:pt x="102" y="136"/>
                  </a:cubicBezTo>
                  <a:cubicBezTo>
                    <a:pt x="102" y="135"/>
                    <a:pt x="103" y="134"/>
                    <a:pt x="104" y="133"/>
                  </a:cubicBezTo>
                  <a:cubicBezTo>
                    <a:pt x="105" y="131"/>
                    <a:pt x="105" y="125"/>
                    <a:pt x="105" y="124"/>
                  </a:cubicBezTo>
                  <a:lnTo>
                    <a:pt x="105" y="88"/>
                  </a:lnTo>
                  <a:lnTo>
                    <a:pt x="62" y="7"/>
                  </a:lnTo>
                  <a:cubicBezTo>
                    <a:pt x="60" y="4"/>
                    <a:pt x="64" y="5"/>
                    <a:pt x="64" y="5"/>
                  </a:cubicBezTo>
                  <a:cubicBezTo>
                    <a:pt x="67" y="5"/>
                    <a:pt x="65" y="2"/>
                    <a:pt x="70" y="3"/>
                  </a:cubicBezTo>
                  <a:cubicBezTo>
                    <a:pt x="70" y="2"/>
                    <a:pt x="71" y="0"/>
                    <a:pt x="72" y="0"/>
                  </a:cubicBezTo>
                  <a:cubicBezTo>
                    <a:pt x="74" y="0"/>
                    <a:pt x="77" y="3"/>
                    <a:pt x="78" y="3"/>
                  </a:cubicBezTo>
                  <a:cubicBezTo>
                    <a:pt x="79" y="3"/>
                    <a:pt x="80" y="2"/>
                    <a:pt x="81" y="2"/>
                  </a:cubicBezTo>
                  <a:cubicBezTo>
                    <a:pt x="82" y="2"/>
                    <a:pt x="83" y="3"/>
                    <a:pt x="84" y="3"/>
                  </a:cubicBezTo>
                  <a:cubicBezTo>
                    <a:pt x="88" y="4"/>
                    <a:pt x="89" y="3"/>
                    <a:pt x="91" y="3"/>
                  </a:cubicBezTo>
                  <a:cubicBezTo>
                    <a:pt x="102" y="5"/>
                    <a:pt x="100" y="0"/>
                    <a:pt x="106" y="0"/>
                  </a:cubicBezTo>
                  <a:cubicBezTo>
                    <a:pt x="112" y="0"/>
                    <a:pt x="112" y="3"/>
                    <a:pt x="116" y="4"/>
                  </a:cubicBezTo>
                  <a:cubicBezTo>
                    <a:pt x="120" y="5"/>
                    <a:pt x="127" y="5"/>
                    <a:pt x="129" y="8"/>
                  </a:cubicBezTo>
                  <a:cubicBezTo>
                    <a:pt x="132" y="11"/>
                    <a:pt x="135" y="10"/>
                    <a:pt x="139" y="12"/>
                  </a:cubicBezTo>
                  <a:cubicBezTo>
                    <a:pt x="143" y="15"/>
                    <a:pt x="145" y="21"/>
                    <a:pt x="149" y="24"/>
                  </a:cubicBezTo>
                  <a:cubicBezTo>
                    <a:pt x="153" y="27"/>
                    <a:pt x="151" y="30"/>
                    <a:pt x="151" y="33"/>
                  </a:cubicBezTo>
                  <a:cubicBezTo>
                    <a:pt x="152" y="37"/>
                    <a:pt x="154" y="37"/>
                    <a:pt x="157" y="39"/>
                  </a:cubicBezTo>
                  <a:cubicBezTo>
                    <a:pt x="159" y="42"/>
                    <a:pt x="162" y="41"/>
                    <a:pt x="164" y="43"/>
                  </a:cubicBezTo>
                  <a:cubicBezTo>
                    <a:pt x="166" y="46"/>
                    <a:pt x="166" y="49"/>
                    <a:pt x="167" y="53"/>
                  </a:cubicBezTo>
                  <a:cubicBezTo>
                    <a:pt x="167" y="57"/>
                    <a:pt x="170" y="57"/>
                    <a:pt x="171" y="61"/>
                  </a:cubicBezTo>
                  <a:cubicBezTo>
                    <a:pt x="172" y="65"/>
                    <a:pt x="173" y="68"/>
                    <a:pt x="173" y="71"/>
                  </a:cubicBezTo>
                  <a:cubicBezTo>
                    <a:pt x="174" y="79"/>
                    <a:pt x="176" y="78"/>
                    <a:pt x="177" y="81"/>
                  </a:cubicBezTo>
                  <a:cubicBezTo>
                    <a:pt x="178" y="85"/>
                    <a:pt x="177" y="84"/>
                    <a:pt x="178" y="87"/>
                  </a:cubicBezTo>
                  <a:cubicBezTo>
                    <a:pt x="179" y="92"/>
                    <a:pt x="182" y="93"/>
                    <a:pt x="182" y="97"/>
                  </a:cubicBezTo>
                  <a:cubicBezTo>
                    <a:pt x="183" y="100"/>
                    <a:pt x="181" y="106"/>
                    <a:pt x="183" y="107"/>
                  </a:cubicBezTo>
                  <a:lnTo>
                    <a:pt x="183" y="115"/>
                  </a:lnTo>
                  <a:cubicBezTo>
                    <a:pt x="188" y="123"/>
                    <a:pt x="191" y="123"/>
                    <a:pt x="191" y="135"/>
                  </a:cubicBezTo>
                  <a:cubicBezTo>
                    <a:pt x="191" y="137"/>
                    <a:pt x="192" y="145"/>
                    <a:pt x="192" y="145"/>
                  </a:cubicBezTo>
                  <a:cubicBezTo>
                    <a:pt x="192" y="149"/>
                    <a:pt x="193" y="157"/>
                    <a:pt x="195" y="161"/>
                  </a:cubicBezTo>
                  <a:lnTo>
                    <a:pt x="252" y="132"/>
                  </a:lnTo>
                  <a:lnTo>
                    <a:pt x="293" y="129"/>
                  </a:lnTo>
                  <a:lnTo>
                    <a:pt x="293" y="132"/>
                  </a:lnTo>
                  <a:cubicBezTo>
                    <a:pt x="290" y="135"/>
                    <a:pt x="286" y="139"/>
                    <a:pt x="286" y="141"/>
                  </a:cubicBezTo>
                  <a:cubicBezTo>
                    <a:pt x="285" y="142"/>
                    <a:pt x="285" y="142"/>
                    <a:pt x="285" y="143"/>
                  </a:cubicBezTo>
                  <a:cubicBezTo>
                    <a:pt x="285" y="144"/>
                    <a:pt x="284" y="143"/>
                    <a:pt x="284" y="144"/>
                  </a:cubicBezTo>
                  <a:cubicBezTo>
                    <a:pt x="283" y="145"/>
                    <a:pt x="280" y="148"/>
                    <a:pt x="279" y="149"/>
                  </a:cubicBezTo>
                  <a:cubicBezTo>
                    <a:pt x="279" y="149"/>
                    <a:pt x="277" y="152"/>
                    <a:pt x="275" y="154"/>
                  </a:cubicBezTo>
                  <a:cubicBezTo>
                    <a:pt x="273" y="155"/>
                    <a:pt x="271" y="154"/>
                    <a:pt x="270" y="154"/>
                  </a:cubicBezTo>
                  <a:cubicBezTo>
                    <a:pt x="270" y="154"/>
                    <a:pt x="270" y="152"/>
                    <a:pt x="269" y="152"/>
                  </a:cubicBezTo>
                  <a:cubicBezTo>
                    <a:pt x="268" y="152"/>
                    <a:pt x="267" y="152"/>
                    <a:pt x="267" y="153"/>
                  </a:cubicBezTo>
                  <a:cubicBezTo>
                    <a:pt x="267" y="155"/>
                    <a:pt x="267" y="157"/>
                    <a:pt x="265" y="157"/>
                  </a:cubicBezTo>
                  <a:cubicBezTo>
                    <a:pt x="263" y="157"/>
                    <a:pt x="263" y="156"/>
                    <a:pt x="262" y="156"/>
                  </a:cubicBezTo>
                  <a:cubicBezTo>
                    <a:pt x="261" y="156"/>
                    <a:pt x="259" y="156"/>
                    <a:pt x="258" y="157"/>
                  </a:cubicBezTo>
                  <a:cubicBezTo>
                    <a:pt x="257" y="159"/>
                    <a:pt x="255" y="161"/>
                    <a:pt x="254" y="160"/>
                  </a:cubicBezTo>
                  <a:cubicBezTo>
                    <a:pt x="252" y="160"/>
                    <a:pt x="251" y="160"/>
                    <a:pt x="251" y="157"/>
                  </a:cubicBezTo>
                  <a:cubicBezTo>
                    <a:pt x="251" y="154"/>
                    <a:pt x="252" y="153"/>
                    <a:pt x="252" y="152"/>
                  </a:cubicBezTo>
                  <a:cubicBezTo>
                    <a:pt x="252" y="151"/>
                    <a:pt x="251" y="149"/>
                    <a:pt x="251" y="151"/>
                  </a:cubicBezTo>
                  <a:cubicBezTo>
                    <a:pt x="250" y="153"/>
                    <a:pt x="250" y="154"/>
                    <a:pt x="250" y="157"/>
                  </a:cubicBezTo>
                  <a:cubicBezTo>
                    <a:pt x="250" y="159"/>
                    <a:pt x="249" y="159"/>
                    <a:pt x="250" y="160"/>
                  </a:cubicBezTo>
                  <a:cubicBezTo>
                    <a:pt x="251" y="160"/>
                    <a:pt x="251" y="162"/>
                    <a:pt x="250" y="163"/>
                  </a:cubicBezTo>
                  <a:cubicBezTo>
                    <a:pt x="249" y="163"/>
                    <a:pt x="247" y="164"/>
                    <a:pt x="247" y="161"/>
                  </a:cubicBezTo>
                  <a:cubicBezTo>
                    <a:pt x="246" y="158"/>
                    <a:pt x="246" y="157"/>
                    <a:pt x="245" y="156"/>
                  </a:cubicBezTo>
                  <a:cubicBezTo>
                    <a:pt x="244" y="155"/>
                    <a:pt x="243" y="155"/>
                    <a:pt x="242" y="156"/>
                  </a:cubicBezTo>
                  <a:cubicBezTo>
                    <a:pt x="242" y="157"/>
                    <a:pt x="242" y="158"/>
                    <a:pt x="243" y="159"/>
                  </a:cubicBezTo>
                  <a:cubicBezTo>
                    <a:pt x="244" y="159"/>
                    <a:pt x="245" y="159"/>
                    <a:pt x="244" y="161"/>
                  </a:cubicBezTo>
                  <a:cubicBezTo>
                    <a:pt x="244" y="162"/>
                    <a:pt x="244" y="162"/>
                    <a:pt x="245" y="163"/>
                  </a:cubicBezTo>
                  <a:cubicBezTo>
                    <a:pt x="246" y="164"/>
                    <a:pt x="246" y="164"/>
                    <a:pt x="246" y="166"/>
                  </a:cubicBezTo>
                  <a:cubicBezTo>
                    <a:pt x="246" y="167"/>
                    <a:pt x="246" y="167"/>
                    <a:pt x="246" y="169"/>
                  </a:cubicBezTo>
                  <a:cubicBezTo>
                    <a:pt x="247" y="171"/>
                    <a:pt x="246" y="172"/>
                    <a:pt x="246" y="173"/>
                  </a:cubicBezTo>
                  <a:cubicBezTo>
                    <a:pt x="247" y="174"/>
                    <a:pt x="249" y="173"/>
                    <a:pt x="250" y="174"/>
                  </a:cubicBezTo>
                  <a:cubicBezTo>
                    <a:pt x="251" y="176"/>
                    <a:pt x="251" y="178"/>
                    <a:pt x="250" y="180"/>
                  </a:cubicBezTo>
                  <a:cubicBezTo>
                    <a:pt x="249" y="181"/>
                    <a:pt x="249" y="182"/>
                    <a:pt x="247" y="182"/>
                  </a:cubicBezTo>
                  <a:cubicBezTo>
                    <a:pt x="246" y="182"/>
                    <a:pt x="245" y="181"/>
                    <a:pt x="247" y="180"/>
                  </a:cubicBezTo>
                  <a:cubicBezTo>
                    <a:pt x="248" y="180"/>
                    <a:pt x="249" y="179"/>
                    <a:pt x="247" y="178"/>
                  </a:cubicBezTo>
                  <a:cubicBezTo>
                    <a:pt x="245" y="178"/>
                    <a:pt x="245" y="177"/>
                    <a:pt x="245" y="176"/>
                  </a:cubicBezTo>
                  <a:cubicBezTo>
                    <a:pt x="244" y="174"/>
                    <a:pt x="243" y="174"/>
                    <a:pt x="243" y="175"/>
                  </a:cubicBezTo>
                  <a:cubicBezTo>
                    <a:pt x="242" y="176"/>
                    <a:pt x="243" y="176"/>
                    <a:pt x="244" y="177"/>
                  </a:cubicBezTo>
                  <a:cubicBezTo>
                    <a:pt x="245" y="178"/>
                    <a:pt x="246" y="179"/>
                    <a:pt x="245" y="180"/>
                  </a:cubicBezTo>
                  <a:cubicBezTo>
                    <a:pt x="244" y="181"/>
                    <a:pt x="243" y="179"/>
                    <a:pt x="242" y="181"/>
                  </a:cubicBezTo>
                  <a:cubicBezTo>
                    <a:pt x="241" y="182"/>
                    <a:pt x="241" y="183"/>
                    <a:pt x="240" y="182"/>
                  </a:cubicBezTo>
                  <a:cubicBezTo>
                    <a:pt x="239" y="182"/>
                    <a:pt x="238" y="181"/>
                    <a:pt x="239" y="180"/>
                  </a:cubicBezTo>
                  <a:cubicBezTo>
                    <a:pt x="239" y="179"/>
                    <a:pt x="237" y="179"/>
                    <a:pt x="237" y="180"/>
                  </a:cubicBezTo>
                  <a:cubicBezTo>
                    <a:pt x="236" y="181"/>
                    <a:pt x="236" y="184"/>
                    <a:pt x="237" y="184"/>
                  </a:cubicBezTo>
                  <a:cubicBezTo>
                    <a:pt x="238" y="185"/>
                    <a:pt x="241" y="185"/>
                    <a:pt x="240" y="187"/>
                  </a:cubicBezTo>
                  <a:cubicBezTo>
                    <a:pt x="238" y="189"/>
                    <a:pt x="239" y="189"/>
                    <a:pt x="237" y="190"/>
                  </a:cubicBezTo>
                  <a:cubicBezTo>
                    <a:pt x="236" y="192"/>
                    <a:pt x="236" y="193"/>
                    <a:pt x="235" y="193"/>
                  </a:cubicBezTo>
                  <a:cubicBezTo>
                    <a:pt x="233" y="193"/>
                    <a:pt x="232" y="194"/>
                    <a:pt x="230" y="196"/>
                  </a:cubicBezTo>
                  <a:cubicBezTo>
                    <a:pt x="229" y="197"/>
                    <a:pt x="227" y="201"/>
                    <a:pt x="225" y="201"/>
                  </a:cubicBezTo>
                  <a:cubicBezTo>
                    <a:pt x="224" y="201"/>
                    <a:pt x="222" y="202"/>
                    <a:pt x="220" y="200"/>
                  </a:cubicBezTo>
                  <a:cubicBezTo>
                    <a:pt x="218" y="198"/>
                    <a:pt x="217" y="198"/>
                    <a:pt x="213" y="200"/>
                  </a:cubicBezTo>
                  <a:cubicBezTo>
                    <a:pt x="210" y="201"/>
                    <a:pt x="199" y="205"/>
                    <a:pt x="195" y="211"/>
                  </a:cubicBezTo>
                  <a:cubicBezTo>
                    <a:pt x="193" y="215"/>
                    <a:pt x="191" y="218"/>
                    <a:pt x="191" y="219"/>
                  </a:cubicBezTo>
                  <a:cubicBezTo>
                    <a:pt x="192" y="221"/>
                    <a:pt x="192" y="220"/>
                    <a:pt x="192" y="222"/>
                  </a:cubicBezTo>
                  <a:cubicBezTo>
                    <a:pt x="192" y="224"/>
                    <a:pt x="192" y="225"/>
                    <a:pt x="191" y="226"/>
                  </a:cubicBezTo>
                  <a:cubicBezTo>
                    <a:pt x="191" y="227"/>
                    <a:pt x="190" y="229"/>
                    <a:pt x="191" y="230"/>
                  </a:cubicBezTo>
                  <a:cubicBezTo>
                    <a:pt x="192" y="232"/>
                    <a:pt x="192" y="232"/>
                    <a:pt x="192" y="233"/>
                  </a:cubicBezTo>
                  <a:cubicBezTo>
                    <a:pt x="192" y="234"/>
                    <a:pt x="191" y="235"/>
                    <a:pt x="193" y="235"/>
                  </a:cubicBezTo>
                  <a:cubicBezTo>
                    <a:pt x="194" y="235"/>
                    <a:pt x="196" y="234"/>
                    <a:pt x="195" y="235"/>
                  </a:cubicBezTo>
                  <a:cubicBezTo>
                    <a:pt x="194" y="237"/>
                    <a:pt x="192" y="239"/>
                    <a:pt x="191" y="240"/>
                  </a:cubicBezTo>
                  <a:cubicBezTo>
                    <a:pt x="191" y="242"/>
                    <a:pt x="191" y="243"/>
                    <a:pt x="191" y="245"/>
                  </a:cubicBezTo>
                  <a:cubicBezTo>
                    <a:pt x="191" y="247"/>
                    <a:pt x="190" y="247"/>
                    <a:pt x="189" y="248"/>
                  </a:cubicBezTo>
                  <a:cubicBezTo>
                    <a:pt x="188" y="249"/>
                    <a:pt x="187" y="250"/>
                    <a:pt x="188" y="251"/>
                  </a:cubicBezTo>
                  <a:cubicBezTo>
                    <a:pt x="188" y="253"/>
                    <a:pt x="189" y="252"/>
                    <a:pt x="189" y="253"/>
                  </a:cubicBezTo>
                  <a:cubicBezTo>
                    <a:pt x="189" y="255"/>
                    <a:pt x="189" y="256"/>
                    <a:pt x="188" y="258"/>
                  </a:cubicBezTo>
                  <a:cubicBezTo>
                    <a:pt x="186" y="259"/>
                    <a:pt x="187" y="260"/>
                    <a:pt x="185" y="260"/>
                  </a:cubicBezTo>
                  <a:cubicBezTo>
                    <a:pt x="183" y="261"/>
                    <a:pt x="182" y="261"/>
                    <a:pt x="180" y="264"/>
                  </a:cubicBezTo>
                  <a:cubicBezTo>
                    <a:pt x="177" y="267"/>
                    <a:pt x="178" y="265"/>
                    <a:pt x="178" y="263"/>
                  </a:cubicBezTo>
                  <a:cubicBezTo>
                    <a:pt x="177" y="261"/>
                    <a:pt x="176" y="261"/>
                    <a:pt x="176" y="262"/>
                  </a:cubicBezTo>
                  <a:cubicBezTo>
                    <a:pt x="175" y="263"/>
                    <a:pt x="175" y="262"/>
                    <a:pt x="176" y="264"/>
                  </a:cubicBezTo>
                  <a:cubicBezTo>
                    <a:pt x="176" y="266"/>
                    <a:pt x="177" y="266"/>
                    <a:pt x="176" y="268"/>
                  </a:cubicBezTo>
                  <a:cubicBezTo>
                    <a:pt x="175" y="270"/>
                    <a:pt x="175" y="270"/>
                    <a:pt x="174" y="272"/>
                  </a:cubicBezTo>
                  <a:cubicBezTo>
                    <a:pt x="173" y="274"/>
                    <a:pt x="172" y="277"/>
                    <a:pt x="171" y="279"/>
                  </a:cubicBezTo>
                  <a:cubicBezTo>
                    <a:pt x="170" y="282"/>
                    <a:pt x="171" y="283"/>
                    <a:pt x="170" y="284"/>
                  </a:cubicBezTo>
                  <a:cubicBezTo>
                    <a:pt x="169" y="286"/>
                    <a:pt x="168" y="285"/>
                    <a:pt x="167" y="284"/>
                  </a:cubicBezTo>
                  <a:cubicBezTo>
                    <a:pt x="166" y="284"/>
                    <a:pt x="165" y="282"/>
                    <a:pt x="164" y="282"/>
                  </a:cubicBezTo>
                  <a:cubicBezTo>
                    <a:pt x="163" y="282"/>
                    <a:pt x="162" y="282"/>
                    <a:pt x="162" y="283"/>
                  </a:cubicBezTo>
                  <a:cubicBezTo>
                    <a:pt x="162" y="284"/>
                    <a:pt x="162" y="284"/>
                    <a:pt x="163" y="284"/>
                  </a:cubicBezTo>
                  <a:cubicBezTo>
                    <a:pt x="165" y="284"/>
                    <a:pt x="165" y="285"/>
                    <a:pt x="164" y="286"/>
                  </a:cubicBezTo>
                  <a:cubicBezTo>
                    <a:pt x="164" y="287"/>
                    <a:pt x="165" y="287"/>
                    <a:pt x="166" y="286"/>
                  </a:cubicBezTo>
                  <a:cubicBezTo>
                    <a:pt x="167" y="286"/>
                    <a:pt x="169" y="285"/>
                    <a:pt x="169" y="287"/>
                  </a:cubicBezTo>
                  <a:cubicBezTo>
                    <a:pt x="169" y="288"/>
                    <a:pt x="170" y="291"/>
                    <a:pt x="169" y="293"/>
                  </a:cubicBezTo>
                  <a:cubicBezTo>
                    <a:pt x="167" y="296"/>
                    <a:pt x="165" y="305"/>
                    <a:pt x="164" y="307"/>
                  </a:cubicBezTo>
                  <a:cubicBezTo>
                    <a:pt x="162" y="309"/>
                    <a:pt x="163" y="311"/>
                    <a:pt x="161" y="311"/>
                  </a:cubicBezTo>
                  <a:cubicBezTo>
                    <a:pt x="158" y="311"/>
                    <a:pt x="159" y="311"/>
                    <a:pt x="158" y="310"/>
                  </a:cubicBezTo>
                  <a:cubicBezTo>
                    <a:pt x="157" y="309"/>
                    <a:pt x="158" y="306"/>
                    <a:pt x="156" y="307"/>
                  </a:cubicBezTo>
                  <a:cubicBezTo>
                    <a:pt x="155" y="308"/>
                    <a:pt x="155" y="309"/>
                    <a:pt x="155" y="310"/>
                  </a:cubicBezTo>
                  <a:cubicBezTo>
                    <a:pt x="156" y="311"/>
                    <a:pt x="156" y="312"/>
                    <a:pt x="157" y="312"/>
                  </a:cubicBezTo>
                  <a:cubicBezTo>
                    <a:pt x="158" y="312"/>
                    <a:pt x="159" y="311"/>
                    <a:pt x="159" y="313"/>
                  </a:cubicBezTo>
                  <a:cubicBezTo>
                    <a:pt x="159" y="315"/>
                    <a:pt x="159" y="315"/>
                    <a:pt x="158" y="317"/>
                  </a:cubicBezTo>
                  <a:cubicBezTo>
                    <a:pt x="157" y="318"/>
                    <a:pt x="157" y="319"/>
                    <a:pt x="156" y="319"/>
                  </a:cubicBezTo>
                  <a:cubicBezTo>
                    <a:pt x="154" y="319"/>
                    <a:pt x="153" y="318"/>
                    <a:pt x="153" y="317"/>
                  </a:cubicBezTo>
                  <a:cubicBezTo>
                    <a:pt x="154" y="316"/>
                    <a:pt x="154" y="314"/>
                    <a:pt x="152" y="314"/>
                  </a:cubicBezTo>
                  <a:cubicBezTo>
                    <a:pt x="150" y="313"/>
                    <a:pt x="149" y="314"/>
                    <a:pt x="149" y="314"/>
                  </a:cubicBezTo>
                  <a:cubicBezTo>
                    <a:pt x="150" y="315"/>
                    <a:pt x="150" y="315"/>
                    <a:pt x="151" y="315"/>
                  </a:cubicBezTo>
                  <a:cubicBezTo>
                    <a:pt x="153" y="314"/>
                    <a:pt x="152" y="316"/>
                    <a:pt x="152" y="317"/>
                  </a:cubicBezTo>
                  <a:cubicBezTo>
                    <a:pt x="152" y="318"/>
                    <a:pt x="151" y="318"/>
                    <a:pt x="150" y="318"/>
                  </a:cubicBezTo>
                  <a:cubicBezTo>
                    <a:pt x="148" y="318"/>
                    <a:pt x="147" y="317"/>
                    <a:pt x="147" y="319"/>
                  </a:cubicBezTo>
                  <a:cubicBezTo>
                    <a:pt x="147" y="320"/>
                    <a:pt x="147" y="320"/>
                    <a:pt x="149" y="320"/>
                  </a:cubicBezTo>
                  <a:cubicBezTo>
                    <a:pt x="151" y="320"/>
                    <a:pt x="151" y="319"/>
                    <a:pt x="153" y="320"/>
                  </a:cubicBezTo>
                  <a:cubicBezTo>
                    <a:pt x="154" y="320"/>
                    <a:pt x="155" y="321"/>
                    <a:pt x="154" y="322"/>
                  </a:cubicBezTo>
                  <a:cubicBezTo>
                    <a:pt x="154" y="323"/>
                    <a:pt x="152" y="328"/>
                    <a:pt x="151" y="329"/>
                  </a:cubicBezTo>
                  <a:cubicBezTo>
                    <a:pt x="150" y="330"/>
                    <a:pt x="149" y="335"/>
                    <a:pt x="148" y="338"/>
                  </a:cubicBezTo>
                  <a:cubicBezTo>
                    <a:pt x="147" y="341"/>
                    <a:pt x="145" y="345"/>
                    <a:pt x="145" y="347"/>
                  </a:cubicBezTo>
                  <a:cubicBezTo>
                    <a:pt x="145" y="349"/>
                    <a:pt x="145" y="349"/>
                    <a:pt x="144" y="349"/>
                  </a:cubicBezTo>
                  <a:cubicBezTo>
                    <a:pt x="143" y="349"/>
                    <a:pt x="142" y="350"/>
                    <a:pt x="142" y="351"/>
                  </a:cubicBezTo>
                  <a:cubicBezTo>
                    <a:pt x="142" y="352"/>
                    <a:pt x="142" y="353"/>
                    <a:pt x="141" y="353"/>
                  </a:cubicBezTo>
                  <a:cubicBezTo>
                    <a:pt x="140" y="354"/>
                    <a:pt x="140" y="355"/>
                    <a:pt x="140" y="357"/>
                  </a:cubicBezTo>
                  <a:cubicBezTo>
                    <a:pt x="140" y="359"/>
                    <a:pt x="140" y="359"/>
                    <a:pt x="139" y="360"/>
                  </a:cubicBezTo>
                  <a:cubicBezTo>
                    <a:pt x="138" y="361"/>
                    <a:pt x="137" y="361"/>
                    <a:pt x="137" y="359"/>
                  </a:cubicBezTo>
                  <a:cubicBezTo>
                    <a:pt x="137" y="358"/>
                    <a:pt x="137" y="356"/>
                    <a:pt x="136" y="357"/>
                  </a:cubicBezTo>
                  <a:cubicBezTo>
                    <a:pt x="136" y="358"/>
                    <a:pt x="136" y="360"/>
                    <a:pt x="135" y="360"/>
                  </a:cubicBezTo>
                  <a:cubicBezTo>
                    <a:pt x="134" y="360"/>
                    <a:pt x="133" y="361"/>
                    <a:pt x="134" y="362"/>
                  </a:cubicBezTo>
                  <a:cubicBezTo>
                    <a:pt x="135" y="363"/>
                    <a:pt x="134" y="362"/>
                    <a:pt x="135" y="363"/>
                  </a:cubicBezTo>
                  <a:cubicBezTo>
                    <a:pt x="135" y="365"/>
                    <a:pt x="135" y="365"/>
                    <a:pt x="133" y="366"/>
                  </a:cubicBezTo>
                  <a:cubicBezTo>
                    <a:pt x="132" y="366"/>
                    <a:pt x="129" y="366"/>
                    <a:pt x="129" y="366"/>
                  </a:cubicBezTo>
                  <a:cubicBezTo>
                    <a:pt x="128" y="365"/>
                    <a:pt x="127" y="365"/>
                    <a:pt x="128" y="364"/>
                  </a:cubicBezTo>
                  <a:cubicBezTo>
                    <a:pt x="128" y="363"/>
                    <a:pt x="127" y="363"/>
                    <a:pt x="125" y="363"/>
                  </a:cubicBezTo>
                  <a:cubicBezTo>
                    <a:pt x="124" y="364"/>
                    <a:pt x="123" y="364"/>
                    <a:pt x="122" y="365"/>
                  </a:cubicBezTo>
                  <a:cubicBezTo>
                    <a:pt x="122" y="366"/>
                    <a:pt x="123" y="367"/>
                    <a:pt x="121" y="368"/>
                  </a:cubicBezTo>
                  <a:cubicBezTo>
                    <a:pt x="121" y="368"/>
                    <a:pt x="118" y="367"/>
                    <a:pt x="119" y="368"/>
                  </a:cubicBezTo>
                  <a:lnTo>
                    <a:pt x="14" y="287"/>
                  </a:lnTo>
                  <a:cubicBezTo>
                    <a:pt x="11" y="284"/>
                    <a:pt x="13" y="282"/>
                    <a:pt x="11" y="279"/>
                  </a:cubicBezTo>
                  <a:cubicBezTo>
                    <a:pt x="8" y="277"/>
                    <a:pt x="3" y="278"/>
                    <a:pt x="2" y="277"/>
                  </a:cubicBezTo>
                  <a:cubicBezTo>
                    <a:pt x="1" y="276"/>
                    <a:pt x="1" y="276"/>
                    <a:pt x="2" y="274"/>
                  </a:cubicBezTo>
                  <a:cubicBezTo>
                    <a:pt x="2" y="274"/>
                    <a:pt x="3" y="275"/>
                    <a:pt x="3" y="273"/>
                  </a:cubicBezTo>
                  <a:cubicBezTo>
                    <a:pt x="1" y="272"/>
                    <a:pt x="0" y="271"/>
                    <a:pt x="0" y="270"/>
                  </a:cubicBezTo>
                  <a:cubicBezTo>
                    <a:pt x="0" y="268"/>
                    <a:pt x="7" y="263"/>
                    <a:pt x="9" y="261"/>
                  </a:cubicBezTo>
                  <a:lnTo>
                    <a:pt x="7" y="250"/>
                  </a:lnTo>
                  <a:cubicBezTo>
                    <a:pt x="10" y="250"/>
                    <a:pt x="12" y="249"/>
                    <a:pt x="18" y="249"/>
                  </a:cubicBezTo>
                  <a:cubicBezTo>
                    <a:pt x="21" y="251"/>
                    <a:pt x="20" y="244"/>
                    <a:pt x="20" y="241"/>
                  </a:cubicBezTo>
                  <a:cubicBezTo>
                    <a:pt x="21" y="233"/>
                    <a:pt x="22" y="230"/>
                    <a:pt x="24" y="225"/>
                  </a:cubicBezTo>
                  <a:cubicBezTo>
                    <a:pt x="24" y="223"/>
                    <a:pt x="25" y="221"/>
                    <a:pt x="25" y="219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gray">
            <a:xfrm>
              <a:off x="1416050" y="3956552"/>
              <a:ext cx="54880" cy="38137"/>
            </a:xfrm>
            <a:custGeom>
              <a:avLst/>
              <a:gdLst>
                <a:gd name="T0" fmla="*/ 29 w 8"/>
                <a:gd name="T1" fmla="*/ 5 h 6"/>
                <a:gd name="T2" fmla="*/ 39 w 8"/>
                <a:gd name="T3" fmla="*/ 19 h 6"/>
                <a:gd name="T4" fmla="*/ 20 w 8"/>
                <a:gd name="T5" fmla="*/ 29 h 6"/>
                <a:gd name="T6" fmla="*/ 0 w 8"/>
                <a:gd name="T7" fmla="*/ 19 h 6"/>
                <a:gd name="T8" fmla="*/ 10 w 8"/>
                <a:gd name="T9" fmla="*/ 10 h 6"/>
                <a:gd name="T10" fmla="*/ 24 w 8"/>
                <a:gd name="T11" fmla="*/ 0 h 6"/>
                <a:gd name="T12" fmla="*/ 29 w 8"/>
                <a:gd name="T13" fmla="*/ 5 h 6"/>
                <a:gd name="T14" fmla="*/ 29 w 8"/>
                <a:gd name="T15" fmla="*/ 5 h 6"/>
                <a:gd name="T16" fmla="*/ 29 w 8"/>
                <a:gd name="T17" fmla="*/ 5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6"/>
                <a:gd name="T29" fmla="*/ 8 w 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6">
                  <a:moveTo>
                    <a:pt x="6" y="1"/>
                  </a:moveTo>
                  <a:cubicBezTo>
                    <a:pt x="7" y="1"/>
                    <a:pt x="8" y="2"/>
                    <a:pt x="8" y="4"/>
                  </a:cubicBezTo>
                  <a:cubicBezTo>
                    <a:pt x="8" y="6"/>
                    <a:pt x="5" y="6"/>
                    <a:pt x="4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3" y="2"/>
                    <a:pt x="3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gray">
            <a:xfrm>
              <a:off x="1499074" y="3917099"/>
              <a:ext cx="54880" cy="46028"/>
            </a:xfrm>
            <a:custGeom>
              <a:avLst/>
              <a:gdLst>
                <a:gd name="T0" fmla="*/ 24 w 8"/>
                <a:gd name="T1" fmla="*/ 15 h 7"/>
                <a:gd name="T2" fmla="*/ 34 w 8"/>
                <a:gd name="T3" fmla="*/ 5 h 7"/>
                <a:gd name="T4" fmla="*/ 39 w 8"/>
                <a:gd name="T5" fmla="*/ 10 h 7"/>
                <a:gd name="T6" fmla="*/ 15 w 8"/>
                <a:gd name="T7" fmla="*/ 35 h 7"/>
                <a:gd name="T8" fmla="*/ 0 w 8"/>
                <a:gd name="T9" fmla="*/ 25 h 7"/>
                <a:gd name="T10" fmla="*/ 15 w 8"/>
                <a:gd name="T11" fmla="*/ 10 h 7"/>
                <a:gd name="T12" fmla="*/ 24 w 8"/>
                <a:gd name="T13" fmla="*/ 15 h 7"/>
                <a:gd name="T14" fmla="*/ 24 w 8"/>
                <a:gd name="T15" fmla="*/ 15 h 7"/>
                <a:gd name="T16" fmla="*/ 24 w 8"/>
                <a:gd name="T17" fmla="*/ 15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7"/>
                <a:gd name="T29" fmla="*/ 8 w 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7">
                  <a:moveTo>
                    <a:pt x="5" y="3"/>
                  </a:moveTo>
                  <a:cubicBezTo>
                    <a:pt x="6" y="3"/>
                    <a:pt x="7" y="1"/>
                    <a:pt x="7" y="1"/>
                  </a:cubicBezTo>
                  <a:cubicBezTo>
                    <a:pt x="8" y="0"/>
                    <a:pt x="8" y="2"/>
                    <a:pt x="8" y="2"/>
                  </a:cubicBezTo>
                  <a:cubicBezTo>
                    <a:pt x="8" y="4"/>
                    <a:pt x="5" y="7"/>
                    <a:pt x="3" y="7"/>
                  </a:cubicBezTo>
                  <a:cubicBezTo>
                    <a:pt x="1" y="7"/>
                    <a:pt x="0" y="7"/>
                    <a:pt x="0" y="5"/>
                  </a:cubicBezTo>
                  <a:cubicBezTo>
                    <a:pt x="2" y="5"/>
                    <a:pt x="3" y="2"/>
                    <a:pt x="3" y="2"/>
                  </a:cubicBezTo>
                  <a:cubicBezTo>
                    <a:pt x="5" y="2"/>
                    <a:pt x="4" y="3"/>
                    <a:pt x="5" y="3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gray">
            <a:xfrm>
              <a:off x="1416050" y="3956552"/>
              <a:ext cx="54880" cy="38137"/>
            </a:xfrm>
            <a:custGeom>
              <a:avLst/>
              <a:gdLst>
                <a:gd name="T0" fmla="*/ 29 w 8"/>
                <a:gd name="T1" fmla="*/ 5 h 6"/>
                <a:gd name="T2" fmla="*/ 39 w 8"/>
                <a:gd name="T3" fmla="*/ 19 h 6"/>
                <a:gd name="T4" fmla="*/ 20 w 8"/>
                <a:gd name="T5" fmla="*/ 29 h 6"/>
                <a:gd name="T6" fmla="*/ 0 w 8"/>
                <a:gd name="T7" fmla="*/ 19 h 6"/>
                <a:gd name="T8" fmla="*/ 10 w 8"/>
                <a:gd name="T9" fmla="*/ 10 h 6"/>
                <a:gd name="T10" fmla="*/ 24 w 8"/>
                <a:gd name="T11" fmla="*/ 0 h 6"/>
                <a:gd name="T12" fmla="*/ 29 w 8"/>
                <a:gd name="T13" fmla="*/ 5 h 6"/>
                <a:gd name="T14" fmla="*/ 29 w 8"/>
                <a:gd name="T15" fmla="*/ 5 h 6"/>
                <a:gd name="T16" fmla="*/ 29 w 8"/>
                <a:gd name="T17" fmla="*/ 5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6"/>
                <a:gd name="T29" fmla="*/ 8 w 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6">
                  <a:moveTo>
                    <a:pt x="6" y="1"/>
                  </a:moveTo>
                  <a:cubicBezTo>
                    <a:pt x="7" y="1"/>
                    <a:pt x="8" y="2"/>
                    <a:pt x="8" y="4"/>
                  </a:cubicBezTo>
                  <a:cubicBezTo>
                    <a:pt x="8" y="6"/>
                    <a:pt x="5" y="6"/>
                    <a:pt x="4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3" y="2"/>
                    <a:pt x="3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gray">
            <a:xfrm>
              <a:off x="1499074" y="3917099"/>
              <a:ext cx="54880" cy="46028"/>
            </a:xfrm>
            <a:custGeom>
              <a:avLst/>
              <a:gdLst>
                <a:gd name="T0" fmla="*/ 24 w 8"/>
                <a:gd name="T1" fmla="*/ 15 h 7"/>
                <a:gd name="T2" fmla="*/ 34 w 8"/>
                <a:gd name="T3" fmla="*/ 5 h 7"/>
                <a:gd name="T4" fmla="*/ 39 w 8"/>
                <a:gd name="T5" fmla="*/ 10 h 7"/>
                <a:gd name="T6" fmla="*/ 15 w 8"/>
                <a:gd name="T7" fmla="*/ 35 h 7"/>
                <a:gd name="T8" fmla="*/ 0 w 8"/>
                <a:gd name="T9" fmla="*/ 25 h 7"/>
                <a:gd name="T10" fmla="*/ 15 w 8"/>
                <a:gd name="T11" fmla="*/ 10 h 7"/>
                <a:gd name="T12" fmla="*/ 24 w 8"/>
                <a:gd name="T13" fmla="*/ 15 h 7"/>
                <a:gd name="T14" fmla="*/ 24 w 8"/>
                <a:gd name="T15" fmla="*/ 15 h 7"/>
                <a:gd name="T16" fmla="*/ 24 w 8"/>
                <a:gd name="T17" fmla="*/ 15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7"/>
                <a:gd name="T29" fmla="*/ 8 w 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7">
                  <a:moveTo>
                    <a:pt x="5" y="3"/>
                  </a:moveTo>
                  <a:cubicBezTo>
                    <a:pt x="6" y="3"/>
                    <a:pt x="7" y="1"/>
                    <a:pt x="7" y="1"/>
                  </a:cubicBezTo>
                  <a:cubicBezTo>
                    <a:pt x="8" y="0"/>
                    <a:pt x="8" y="2"/>
                    <a:pt x="8" y="2"/>
                  </a:cubicBezTo>
                  <a:cubicBezTo>
                    <a:pt x="8" y="4"/>
                    <a:pt x="5" y="7"/>
                    <a:pt x="3" y="7"/>
                  </a:cubicBezTo>
                  <a:cubicBezTo>
                    <a:pt x="1" y="7"/>
                    <a:pt x="0" y="7"/>
                    <a:pt x="0" y="5"/>
                  </a:cubicBezTo>
                  <a:cubicBezTo>
                    <a:pt x="2" y="5"/>
                    <a:pt x="3" y="2"/>
                    <a:pt x="3" y="2"/>
                  </a:cubicBezTo>
                  <a:cubicBezTo>
                    <a:pt x="5" y="2"/>
                    <a:pt x="4" y="3"/>
                    <a:pt x="5" y="3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gray">
            <a:xfrm>
              <a:off x="3829381" y="1531543"/>
              <a:ext cx="1637969" cy="3254825"/>
            </a:xfrm>
            <a:custGeom>
              <a:avLst/>
              <a:gdLst>
                <a:gd name="T0" fmla="*/ 242 w 236"/>
                <a:gd name="T1" fmla="*/ 325 h 502"/>
                <a:gd name="T2" fmla="*/ 316 w 236"/>
                <a:gd name="T3" fmla="*/ 355 h 502"/>
                <a:gd name="T4" fmla="*/ 380 w 236"/>
                <a:gd name="T5" fmla="*/ 271 h 502"/>
                <a:gd name="T6" fmla="*/ 552 w 236"/>
                <a:gd name="T7" fmla="*/ 113 h 502"/>
                <a:gd name="T8" fmla="*/ 676 w 236"/>
                <a:gd name="T9" fmla="*/ 49 h 502"/>
                <a:gd name="T10" fmla="*/ 779 w 236"/>
                <a:gd name="T11" fmla="*/ 20 h 502"/>
                <a:gd name="T12" fmla="*/ 838 w 236"/>
                <a:gd name="T13" fmla="*/ 69 h 502"/>
                <a:gd name="T14" fmla="*/ 947 w 236"/>
                <a:gd name="T15" fmla="*/ 138 h 502"/>
                <a:gd name="T16" fmla="*/ 1070 w 236"/>
                <a:gd name="T17" fmla="*/ 123 h 502"/>
                <a:gd name="T18" fmla="*/ 1115 w 236"/>
                <a:gd name="T19" fmla="*/ 123 h 502"/>
                <a:gd name="T20" fmla="*/ 1164 w 236"/>
                <a:gd name="T21" fmla="*/ 143 h 502"/>
                <a:gd name="T22" fmla="*/ 848 w 236"/>
                <a:gd name="T23" fmla="*/ 572 h 502"/>
                <a:gd name="T24" fmla="*/ 848 w 236"/>
                <a:gd name="T25" fmla="*/ 2016 h 502"/>
                <a:gd name="T26" fmla="*/ 1055 w 236"/>
                <a:gd name="T27" fmla="*/ 2317 h 502"/>
                <a:gd name="T28" fmla="*/ 572 w 236"/>
                <a:gd name="T29" fmla="*/ 2475 h 502"/>
                <a:gd name="T30" fmla="*/ 557 w 236"/>
                <a:gd name="T31" fmla="*/ 2396 h 502"/>
                <a:gd name="T32" fmla="*/ 513 w 236"/>
                <a:gd name="T33" fmla="*/ 2248 h 502"/>
                <a:gd name="T34" fmla="*/ 513 w 236"/>
                <a:gd name="T35" fmla="*/ 2209 h 502"/>
                <a:gd name="T36" fmla="*/ 508 w 236"/>
                <a:gd name="T37" fmla="*/ 2159 h 502"/>
                <a:gd name="T38" fmla="*/ 483 w 236"/>
                <a:gd name="T39" fmla="*/ 2081 h 502"/>
                <a:gd name="T40" fmla="*/ 454 w 236"/>
                <a:gd name="T41" fmla="*/ 1982 h 502"/>
                <a:gd name="T42" fmla="*/ 419 w 236"/>
                <a:gd name="T43" fmla="*/ 1893 h 502"/>
                <a:gd name="T44" fmla="*/ 355 w 236"/>
                <a:gd name="T45" fmla="*/ 1844 h 502"/>
                <a:gd name="T46" fmla="*/ 296 w 236"/>
                <a:gd name="T47" fmla="*/ 1740 h 502"/>
                <a:gd name="T48" fmla="*/ 182 w 236"/>
                <a:gd name="T49" fmla="*/ 1701 h 502"/>
                <a:gd name="T50" fmla="*/ 59 w 236"/>
                <a:gd name="T51" fmla="*/ 1696 h 502"/>
                <a:gd name="T52" fmla="*/ 35 w 236"/>
                <a:gd name="T53" fmla="*/ 1681 h 502"/>
                <a:gd name="T54" fmla="*/ 30 w 236"/>
                <a:gd name="T55" fmla="*/ 1617 h 502"/>
                <a:gd name="T56" fmla="*/ 35 w 236"/>
                <a:gd name="T57" fmla="*/ 1592 h 502"/>
                <a:gd name="T58" fmla="*/ 15 w 236"/>
                <a:gd name="T59" fmla="*/ 1514 h 502"/>
                <a:gd name="T60" fmla="*/ 39 w 236"/>
                <a:gd name="T61" fmla="*/ 1474 h 502"/>
                <a:gd name="T62" fmla="*/ 113 w 236"/>
                <a:gd name="T63" fmla="*/ 1430 h 502"/>
                <a:gd name="T64" fmla="*/ 217 w 236"/>
                <a:gd name="T65" fmla="*/ 1336 h 502"/>
                <a:gd name="T66" fmla="*/ 286 w 236"/>
                <a:gd name="T67" fmla="*/ 1292 h 502"/>
                <a:gd name="T68" fmla="*/ 217 w 236"/>
                <a:gd name="T69" fmla="*/ 1104 h 502"/>
                <a:gd name="T70" fmla="*/ 286 w 236"/>
                <a:gd name="T71" fmla="*/ 1075 h 502"/>
                <a:gd name="T72" fmla="*/ 187 w 236"/>
                <a:gd name="T73" fmla="*/ 1001 h 502"/>
                <a:gd name="T74" fmla="*/ 133 w 236"/>
                <a:gd name="T75" fmla="*/ 912 h 502"/>
                <a:gd name="T76" fmla="*/ 94 w 236"/>
                <a:gd name="T77" fmla="*/ 784 h 502"/>
                <a:gd name="T78" fmla="*/ 74 w 236"/>
                <a:gd name="T79" fmla="*/ 710 h 502"/>
                <a:gd name="T80" fmla="*/ 74 w 236"/>
                <a:gd name="T81" fmla="*/ 690 h 502"/>
                <a:gd name="T82" fmla="*/ 109 w 236"/>
                <a:gd name="T83" fmla="*/ 675 h 502"/>
                <a:gd name="T84" fmla="*/ 113 w 236"/>
                <a:gd name="T85" fmla="*/ 641 h 502"/>
                <a:gd name="T86" fmla="*/ 168 w 236"/>
                <a:gd name="T87" fmla="*/ 532 h 502"/>
                <a:gd name="T88" fmla="*/ 222 w 236"/>
                <a:gd name="T89" fmla="*/ 385 h 502"/>
                <a:gd name="T90" fmla="*/ 227 w 236"/>
                <a:gd name="T91" fmla="*/ 325 h 502"/>
                <a:gd name="T92" fmla="*/ 227 w 236"/>
                <a:gd name="T93" fmla="*/ 325 h 5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6"/>
                <a:gd name="T142" fmla="*/ 0 h 502"/>
                <a:gd name="T143" fmla="*/ 236 w 236"/>
                <a:gd name="T144" fmla="*/ 502 h 50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6" h="502">
                  <a:moveTo>
                    <a:pt x="46" y="66"/>
                  </a:moveTo>
                  <a:cubicBezTo>
                    <a:pt x="47" y="66"/>
                    <a:pt x="48" y="66"/>
                    <a:pt x="49" y="66"/>
                  </a:cubicBezTo>
                  <a:cubicBezTo>
                    <a:pt x="50" y="66"/>
                    <a:pt x="55" y="68"/>
                    <a:pt x="57" y="68"/>
                  </a:cubicBezTo>
                  <a:cubicBezTo>
                    <a:pt x="63" y="66"/>
                    <a:pt x="60" y="72"/>
                    <a:pt x="64" y="72"/>
                  </a:cubicBezTo>
                  <a:cubicBezTo>
                    <a:pt x="66" y="72"/>
                    <a:pt x="66" y="68"/>
                    <a:pt x="66" y="67"/>
                  </a:cubicBezTo>
                  <a:cubicBezTo>
                    <a:pt x="68" y="64"/>
                    <a:pt x="75" y="57"/>
                    <a:pt x="77" y="55"/>
                  </a:cubicBezTo>
                  <a:cubicBezTo>
                    <a:pt x="86" y="53"/>
                    <a:pt x="83" y="39"/>
                    <a:pt x="90" y="34"/>
                  </a:cubicBezTo>
                  <a:cubicBezTo>
                    <a:pt x="97" y="30"/>
                    <a:pt x="105" y="27"/>
                    <a:pt x="112" y="23"/>
                  </a:cubicBezTo>
                  <a:cubicBezTo>
                    <a:pt x="117" y="21"/>
                    <a:pt x="123" y="18"/>
                    <a:pt x="128" y="15"/>
                  </a:cubicBezTo>
                  <a:cubicBezTo>
                    <a:pt x="131" y="13"/>
                    <a:pt x="133" y="12"/>
                    <a:pt x="137" y="10"/>
                  </a:cubicBezTo>
                  <a:cubicBezTo>
                    <a:pt x="141" y="9"/>
                    <a:pt x="146" y="8"/>
                    <a:pt x="150" y="6"/>
                  </a:cubicBezTo>
                  <a:cubicBezTo>
                    <a:pt x="152" y="5"/>
                    <a:pt x="155" y="0"/>
                    <a:pt x="158" y="4"/>
                  </a:cubicBezTo>
                  <a:cubicBezTo>
                    <a:pt x="160" y="7"/>
                    <a:pt x="161" y="5"/>
                    <a:pt x="163" y="8"/>
                  </a:cubicBezTo>
                  <a:cubicBezTo>
                    <a:pt x="165" y="10"/>
                    <a:pt x="164" y="14"/>
                    <a:pt x="170" y="14"/>
                  </a:cubicBezTo>
                  <a:cubicBezTo>
                    <a:pt x="172" y="14"/>
                    <a:pt x="176" y="20"/>
                    <a:pt x="177" y="22"/>
                  </a:cubicBezTo>
                  <a:cubicBezTo>
                    <a:pt x="179" y="26"/>
                    <a:pt x="183" y="31"/>
                    <a:pt x="192" y="28"/>
                  </a:cubicBezTo>
                  <a:cubicBezTo>
                    <a:pt x="201" y="26"/>
                    <a:pt x="202" y="30"/>
                    <a:pt x="210" y="27"/>
                  </a:cubicBezTo>
                  <a:cubicBezTo>
                    <a:pt x="213" y="27"/>
                    <a:pt x="215" y="25"/>
                    <a:pt x="217" y="25"/>
                  </a:cubicBezTo>
                  <a:cubicBezTo>
                    <a:pt x="219" y="25"/>
                    <a:pt x="220" y="27"/>
                    <a:pt x="221" y="27"/>
                  </a:cubicBezTo>
                  <a:cubicBezTo>
                    <a:pt x="223" y="27"/>
                    <a:pt x="224" y="25"/>
                    <a:pt x="226" y="25"/>
                  </a:cubicBezTo>
                  <a:cubicBezTo>
                    <a:pt x="231" y="25"/>
                    <a:pt x="232" y="29"/>
                    <a:pt x="236" y="29"/>
                  </a:cubicBezTo>
                  <a:lnTo>
                    <a:pt x="198" y="89"/>
                  </a:lnTo>
                  <a:lnTo>
                    <a:pt x="172" y="116"/>
                  </a:lnTo>
                  <a:lnTo>
                    <a:pt x="172" y="302"/>
                  </a:lnTo>
                  <a:lnTo>
                    <a:pt x="172" y="409"/>
                  </a:lnTo>
                  <a:lnTo>
                    <a:pt x="214" y="467"/>
                  </a:lnTo>
                  <a:lnTo>
                    <a:pt x="214" y="470"/>
                  </a:lnTo>
                  <a:lnTo>
                    <a:pt x="173" y="473"/>
                  </a:lnTo>
                  <a:lnTo>
                    <a:pt x="116" y="502"/>
                  </a:lnTo>
                  <a:cubicBezTo>
                    <a:pt x="114" y="498"/>
                    <a:pt x="113" y="490"/>
                    <a:pt x="113" y="486"/>
                  </a:cubicBezTo>
                  <a:cubicBezTo>
                    <a:pt x="113" y="486"/>
                    <a:pt x="112" y="478"/>
                    <a:pt x="112" y="476"/>
                  </a:cubicBezTo>
                  <a:cubicBezTo>
                    <a:pt x="112" y="464"/>
                    <a:pt x="109" y="464"/>
                    <a:pt x="104" y="456"/>
                  </a:cubicBezTo>
                  <a:lnTo>
                    <a:pt x="104" y="448"/>
                  </a:lnTo>
                  <a:cubicBezTo>
                    <a:pt x="102" y="447"/>
                    <a:pt x="104" y="441"/>
                    <a:pt x="103" y="438"/>
                  </a:cubicBezTo>
                  <a:cubicBezTo>
                    <a:pt x="103" y="434"/>
                    <a:pt x="100" y="433"/>
                    <a:pt x="99" y="428"/>
                  </a:cubicBezTo>
                  <a:cubicBezTo>
                    <a:pt x="98" y="425"/>
                    <a:pt x="99" y="426"/>
                    <a:pt x="98" y="422"/>
                  </a:cubicBezTo>
                  <a:cubicBezTo>
                    <a:pt x="97" y="419"/>
                    <a:pt x="95" y="420"/>
                    <a:pt x="94" y="412"/>
                  </a:cubicBezTo>
                  <a:cubicBezTo>
                    <a:pt x="94" y="409"/>
                    <a:pt x="93" y="406"/>
                    <a:pt x="92" y="402"/>
                  </a:cubicBezTo>
                  <a:cubicBezTo>
                    <a:pt x="91" y="398"/>
                    <a:pt x="88" y="398"/>
                    <a:pt x="88" y="394"/>
                  </a:cubicBezTo>
                  <a:cubicBezTo>
                    <a:pt x="87" y="390"/>
                    <a:pt x="87" y="387"/>
                    <a:pt x="85" y="384"/>
                  </a:cubicBezTo>
                  <a:cubicBezTo>
                    <a:pt x="83" y="382"/>
                    <a:pt x="80" y="383"/>
                    <a:pt x="78" y="380"/>
                  </a:cubicBezTo>
                  <a:cubicBezTo>
                    <a:pt x="75" y="378"/>
                    <a:pt x="73" y="378"/>
                    <a:pt x="72" y="374"/>
                  </a:cubicBezTo>
                  <a:cubicBezTo>
                    <a:pt x="72" y="371"/>
                    <a:pt x="74" y="368"/>
                    <a:pt x="70" y="365"/>
                  </a:cubicBezTo>
                  <a:cubicBezTo>
                    <a:pt x="66" y="362"/>
                    <a:pt x="64" y="356"/>
                    <a:pt x="60" y="353"/>
                  </a:cubicBezTo>
                  <a:cubicBezTo>
                    <a:pt x="56" y="351"/>
                    <a:pt x="53" y="352"/>
                    <a:pt x="50" y="349"/>
                  </a:cubicBezTo>
                  <a:cubicBezTo>
                    <a:pt x="48" y="346"/>
                    <a:pt x="41" y="346"/>
                    <a:pt x="37" y="345"/>
                  </a:cubicBezTo>
                  <a:cubicBezTo>
                    <a:pt x="33" y="344"/>
                    <a:pt x="33" y="341"/>
                    <a:pt x="27" y="341"/>
                  </a:cubicBezTo>
                  <a:cubicBezTo>
                    <a:pt x="21" y="341"/>
                    <a:pt x="23" y="346"/>
                    <a:pt x="12" y="344"/>
                  </a:cubicBezTo>
                  <a:cubicBezTo>
                    <a:pt x="10" y="344"/>
                    <a:pt x="9" y="345"/>
                    <a:pt x="5" y="344"/>
                  </a:cubicBezTo>
                  <a:cubicBezTo>
                    <a:pt x="6" y="344"/>
                    <a:pt x="6" y="342"/>
                    <a:pt x="7" y="341"/>
                  </a:cubicBezTo>
                  <a:lnTo>
                    <a:pt x="6" y="328"/>
                  </a:lnTo>
                  <a:cubicBezTo>
                    <a:pt x="6" y="326"/>
                    <a:pt x="7" y="325"/>
                    <a:pt x="7" y="323"/>
                  </a:cubicBezTo>
                  <a:cubicBezTo>
                    <a:pt x="7" y="320"/>
                    <a:pt x="4" y="318"/>
                    <a:pt x="4" y="316"/>
                  </a:cubicBezTo>
                  <a:cubicBezTo>
                    <a:pt x="3" y="313"/>
                    <a:pt x="3" y="311"/>
                    <a:pt x="3" y="307"/>
                  </a:cubicBezTo>
                  <a:cubicBezTo>
                    <a:pt x="2" y="304"/>
                    <a:pt x="0" y="305"/>
                    <a:pt x="0" y="303"/>
                  </a:cubicBezTo>
                  <a:cubicBezTo>
                    <a:pt x="0" y="298"/>
                    <a:pt x="5" y="301"/>
                    <a:pt x="8" y="299"/>
                  </a:cubicBezTo>
                  <a:cubicBezTo>
                    <a:pt x="10" y="298"/>
                    <a:pt x="9" y="295"/>
                    <a:pt x="11" y="293"/>
                  </a:cubicBezTo>
                  <a:cubicBezTo>
                    <a:pt x="13" y="290"/>
                    <a:pt x="19" y="291"/>
                    <a:pt x="23" y="290"/>
                  </a:cubicBezTo>
                  <a:cubicBezTo>
                    <a:pt x="28" y="288"/>
                    <a:pt x="32" y="285"/>
                    <a:pt x="36" y="282"/>
                  </a:cubicBezTo>
                  <a:cubicBezTo>
                    <a:pt x="40" y="279"/>
                    <a:pt x="42" y="274"/>
                    <a:pt x="44" y="271"/>
                  </a:cubicBezTo>
                  <a:cubicBezTo>
                    <a:pt x="46" y="266"/>
                    <a:pt x="53" y="265"/>
                    <a:pt x="58" y="262"/>
                  </a:cubicBezTo>
                  <a:lnTo>
                    <a:pt x="47" y="231"/>
                  </a:lnTo>
                  <a:lnTo>
                    <a:pt x="44" y="224"/>
                  </a:lnTo>
                  <a:lnTo>
                    <a:pt x="58" y="218"/>
                  </a:lnTo>
                  <a:cubicBezTo>
                    <a:pt x="55" y="217"/>
                    <a:pt x="53" y="216"/>
                    <a:pt x="51" y="212"/>
                  </a:cubicBezTo>
                  <a:cubicBezTo>
                    <a:pt x="48" y="206"/>
                    <a:pt x="41" y="207"/>
                    <a:pt x="38" y="203"/>
                  </a:cubicBezTo>
                  <a:cubicBezTo>
                    <a:pt x="36" y="200"/>
                    <a:pt x="36" y="196"/>
                    <a:pt x="35" y="194"/>
                  </a:cubicBezTo>
                  <a:cubicBezTo>
                    <a:pt x="33" y="191"/>
                    <a:pt x="28" y="189"/>
                    <a:pt x="27" y="185"/>
                  </a:cubicBezTo>
                  <a:cubicBezTo>
                    <a:pt x="25" y="180"/>
                    <a:pt x="22" y="176"/>
                    <a:pt x="20" y="172"/>
                  </a:cubicBezTo>
                  <a:cubicBezTo>
                    <a:pt x="17" y="168"/>
                    <a:pt x="23" y="167"/>
                    <a:pt x="19" y="159"/>
                  </a:cubicBezTo>
                  <a:cubicBezTo>
                    <a:pt x="17" y="157"/>
                    <a:pt x="18" y="150"/>
                    <a:pt x="15" y="144"/>
                  </a:cubicBezTo>
                  <a:lnTo>
                    <a:pt x="15" y="140"/>
                  </a:lnTo>
                  <a:cubicBezTo>
                    <a:pt x="20" y="140"/>
                    <a:pt x="22" y="137"/>
                    <a:pt x="22" y="137"/>
                  </a:cubicBezTo>
                  <a:lnTo>
                    <a:pt x="23" y="130"/>
                  </a:lnTo>
                  <a:cubicBezTo>
                    <a:pt x="24" y="126"/>
                    <a:pt x="27" y="122"/>
                    <a:pt x="28" y="119"/>
                  </a:cubicBezTo>
                  <a:cubicBezTo>
                    <a:pt x="29" y="115"/>
                    <a:pt x="32" y="109"/>
                    <a:pt x="34" y="108"/>
                  </a:cubicBezTo>
                  <a:cubicBezTo>
                    <a:pt x="41" y="105"/>
                    <a:pt x="50" y="103"/>
                    <a:pt x="49" y="91"/>
                  </a:cubicBezTo>
                  <a:cubicBezTo>
                    <a:pt x="48" y="85"/>
                    <a:pt x="47" y="82"/>
                    <a:pt x="45" y="78"/>
                  </a:cubicBezTo>
                  <a:lnTo>
                    <a:pt x="46" y="6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gray">
            <a:xfrm>
              <a:off x="2477071" y="1460528"/>
              <a:ext cx="1754766" cy="3837406"/>
            </a:xfrm>
            <a:custGeom>
              <a:avLst/>
              <a:gdLst>
                <a:gd name="T0" fmla="*/ 596 w 253"/>
                <a:gd name="T1" fmla="*/ 2657 h 592"/>
                <a:gd name="T2" fmla="*/ 611 w 253"/>
                <a:gd name="T3" fmla="*/ 2588 h 592"/>
                <a:gd name="T4" fmla="*/ 493 w 253"/>
                <a:gd name="T5" fmla="*/ 2509 h 592"/>
                <a:gd name="T6" fmla="*/ 335 w 253"/>
                <a:gd name="T7" fmla="*/ 2292 h 592"/>
                <a:gd name="T8" fmla="*/ 330 w 253"/>
                <a:gd name="T9" fmla="*/ 2262 h 592"/>
                <a:gd name="T10" fmla="*/ 424 w 253"/>
                <a:gd name="T11" fmla="*/ 2154 h 592"/>
                <a:gd name="T12" fmla="*/ 493 w 253"/>
                <a:gd name="T13" fmla="*/ 2100 h 592"/>
                <a:gd name="T14" fmla="*/ 488 w 253"/>
                <a:gd name="T15" fmla="*/ 2036 h 592"/>
                <a:gd name="T16" fmla="*/ 453 w 253"/>
                <a:gd name="T17" fmla="*/ 1774 h 592"/>
                <a:gd name="T18" fmla="*/ 478 w 253"/>
                <a:gd name="T19" fmla="*/ 1661 h 592"/>
                <a:gd name="T20" fmla="*/ 463 w 253"/>
                <a:gd name="T21" fmla="*/ 1523 h 592"/>
                <a:gd name="T22" fmla="*/ 311 w 253"/>
                <a:gd name="T23" fmla="*/ 1494 h 592"/>
                <a:gd name="T24" fmla="*/ 394 w 253"/>
                <a:gd name="T25" fmla="*/ 1420 h 592"/>
                <a:gd name="T26" fmla="*/ 503 w 253"/>
                <a:gd name="T27" fmla="*/ 1503 h 592"/>
                <a:gd name="T28" fmla="*/ 660 w 253"/>
                <a:gd name="T29" fmla="*/ 1464 h 592"/>
                <a:gd name="T30" fmla="*/ 734 w 253"/>
                <a:gd name="T31" fmla="*/ 1424 h 592"/>
                <a:gd name="T32" fmla="*/ 705 w 253"/>
                <a:gd name="T33" fmla="*/ 1257 h 592"/>
                <a:gd name="T34" fmla="*/ 695 w 253"/>
                <a:gd name="T35" fmla="*/ 1178 h 592"/>
                <a:gd name="T36" fmla="*/ 503 w 253"/>
                <a:gd name="T37" fmla="*/ 1079 h 592"/>
                <a:gd name="T38" fmla="*/ 399 w 253"/>
                <a:gd name="T39" fmla="*/ 946 h 592"/>
                <a:gd name="T40" fmla="*/ 266 w 253"/>
                <a:gd name="T41" fmla="*/ 784 h 592"/>
                <a:gd name="T42" fmla="*/ 212 w 253"/>
                <a:gd name="T43" fmla="*/ 794 h 592"/>
                <a:gd name="T44" fmla="*/ 153 w 253"/>
                <a:gd name="T45" fmla="*/ 675 h 592"/>
                <a:gd name="T46" fmla="*/ 74 w 253"/>
                <a:gd name="T47" fmla="*/ 572 h 592"/>
                <a:gd name="T48" fmla="*/ 39 w 253"/>
                <a:gd name="T49" fmla="*/ 493 h 592"/>
                <a:gd name="T50" fmla="*/ 5 w 253"/>
                <a:gd name="T51" fmla="*/ 5 h 592"/>
                <a:gd name="T52" fmla="*/ 315 w 253"/>
                <a:gd name="T53" fmla="*/ 10 h 592"/>
                <a:gd name="T54" fmla="*/ 725 w 253"/>
                <a:gd name="T55" fmla="*/ 291 h 592"/>
                <a:gd name="T56" fmla="*/ 877 w 253"/>
                <a:gd name="T57" fmla="*/ 335 h 592"/>
                <a:gd name="T58" fmla="*/ 986 w 253"/>
                <a:gd name="T59" fmla="*/ 345 h 592"/>
                <a:gd name="T60" fmla="*/ 1188 w 253"/>
                <a:gd name="T61" fmla="*/ 380 h 592"/>
                <a:gd name="T62" fmla="*/ 1203 w 253"/>
                <a:gd name="T63" fmla="*/ 503 h 592"/>
                <a:gd name="T64" fmla="*/ 1074 w 253"/>
                <a:gd name="T65" fmla="*/ 695 h 592"/>
                <a:gd name="T66" fmla="*/ 1035 w 253"/>
                <a:gd name="T67" fmla="*/ 744 h 592"/>
                <a:gd name="T68" fmla="*/ 1060 w 253"/>
                <a:gd name="T69" fmla="*/ 902 h 592"/>
                <a:gd name="T70" fmla="*/ 1212 w 253"/>
                <a:gd name="T71" fmla="*/ 1099 h 592"/>
                <a:gd name="T72" fmla="*/ 1193 w 253"/>
                <a:gd name="T73" fmla="*/ 1193 h 592"/>
                <a:gd name="T74" fmla="*/ 1139 w 253"/>
                <a:gd name="T75" fmla="*/ 1444 h 592"/>
                <a:gd name="T76" fmla="*/ 961 w 253"/>
                <a:gd name="T77" fmla="*/ 1548 h 592"/>
                <a:gd name="T78" fmla="*/ 991 w 253"/>
                <a:gd name="T79" fmla="*/ 1671 h 592"/>
                <a:gd name="T80" fmla="*/ 986 w 253"/>
                <a:gd name="T81" fmla="*/ 1750 h 592"/>
                <a:gd name="T82" fmla="*/ 917 w 253"/>
                <a:gd name="T83" fmla="*/ 1750 h 592"/>
                <a:gd name="T84" fmla="*/ 1089 w 253"/>
                <a:gd name="T85" fmla="*/ 2169 h 592"/>
                <a:gd name="T86" fmla="*/ 1074 w 253"/>
                <a:gd name="T87" fmla="*/ 2405 h 592"/>
                <a:gd name="T88" fmla="*/ 996 w 253"/>
                <a:gd name="T89" fmla="*/ 2647 h 592"/>
                <a:gd name="T90" fmla="*/ 1055 w 253"/>
                <a:gd name="T91" fmla="*/ 2819 h 592"/>
                <a:gd name="T92" fmla="*/ 1104 w 253"/>
                <a:gd name="T93" fmla="*/ 2908 h 592"/>
                <a:gd name="T94" fmla="*/ 1020 w 253"/>
                <a:gd name="T95" fmla="*/ 2918 h 592"/>
                <a:gd name="T96" fmla="*/ 882 w 253"/>
                <a:gd name="T97" fmla="*/ 2874 h 592"/>
                <a:gd name="T98" fmla="*/ 729 w 253"/>
                <a:gd name="T99" fmla="*/ 2805 h 592"/>
                <a:gd name="T100" fmla="*/ 695 w 253"/>
                <a:gd name="T101" fmla="*/ 2814 h 59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3"/>
                <a:gd name="T154" fmla="*/ 0 h 592"/>
                <a:gd name="T155" fmla="*/ 253 w 253"/>
                <a:gd name="T156" fmla="*/ 592 h 59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3" h="592">
                  <a:moveTo>
                    <a:pt x="141" y="571"/>
                  </a:moveTo>
                  <a:cubicBezTo>
                    <a:pt x="141" y="570"/>
                    <a:pt x="141" y="569"/>
                    <a:pt x="141" y="568"/>
                  </a:cubicBezTo>
                  <a:cubicBezTo>
                    <a:pt x="141" y="563"/>
                    <a:pt x="133" y="557"/>
                    <a:pt x="130" y="552"/>
                  </a:cubicBezTo>
                  <a:cubicBezTo>
                    <a:pt x="127" y="547"/>
                    <a:pt x="123" y="545"/>
                    <a:pt x="121" y="539"/>
                  </a:cubicBezTo>
                  <a:cubicBezTo>
                    <a:pt x="120" y="538"/>
                    <a:pt x="118" y="538"/>
                    <a:pt x="118" y="536"/>
                  </a:cubicBezTo>
                  <a:cubicBezTo>
                    <a:pt x="118" y="533"/>
                    <a:pt x="122" y="533"/>
                    <a:pt x="122" y="531"/>
                  </a:cubicBezTo>
                  <a:lnTo>
                    <a:pt x="124" y="525"/>
                  </a:lnTo>
                  <a:cubicBezTo>
                    <a:pt x="124" y="524"/>
                    <a:pt x="126" y="525"/>
                    <a:pt x="127" y="523"/>
                  </a:cubicBezTo>
                  <a:cubicBezTo>
                    <a:pt x="123" y="520"/>
                    <a:pt x="121" y="523"/>
                    <a:pt x="116" y="520"/>
                  </a:cubicBezTo>
                  <a:cubicBezTo>
                    <a:pt x="111" y="515"/>
                    <a:pt x="107" y="513"/>
                    <a:pt x="100" y="509"/>
                  </a:cubicBezTo>
                  <a:cubicBezTo>
                    <a:pt x="95" y="510"/>
                    <a:pt x="94" y="504"/>
                    <a:pt x="91" y="504"/>
                  </a:cubicBezTo>
                  <a:cubicBezTo>
                    <a:pt x="83" y="504"/>
                    <a:pt x="86" y="492"/>
                    <a:pt x="83" y="486"/>
                  </a:cubicBezTo>
                  <a:cubicBezTo>
                    <a:pt x="80" y="481"/>
                    <a:pt x="70" y="477"/>
                    <a:pt x="70" y="470"/>
                  </a:cubicBezTo>
                  <a:cubicBezTo>
                    <a:pt x="70" y="468"/>
                    <a:pt x="71" y="465"/>
                    <a:pt x="68" y="465"/>
                  </a:cubicBezTo>
                  <a:cubicBezTo>
                    <a:pt x="67" y="465"/>
                    <a:pt x="66" y="467"/>
                    <a:pt x="64" y="467"/>
                  </a:cubicBezTo>
                  <a:cubicBezTo>
                    <a:pt x="63" y="467"/>
                    <a:pt x="62" y="462"/>
                    <a:pt x="62" y="461"/>
                  </a:cubicBezTo>
                  <a:cubicBezTo>
                    <a:pt x="64" y="461"/>
                    <a:pt x="67" y="462"/>
                    <a:pt x="67" y="460"/>
                  </a:cubicBezTo>
                  <a:cubicBezTo>
                    <a:pt x="67" y="460"/>
                    <a:pt x="67" y="459"/>
                    <a:pt x="67" y="459"/>
                  </a:cubicBezTo>
                  <a:cubicBezTo>
                    <a:pt x="67" y="457"/>
                    <a:pt x="71" y="453"/>
                    <a:pt x="71" y="453"/>
                  </a:cubicBezTo>
                  <a:cubicBezTo>
                    <a:pt x="73" y="451"/>
                    <a:pt x="78" y="455"/>
                    <a:pt x="79" y="454"/>
                  </a:cubicBezTo>
                  <a:cubicBezTo>
                    <a:pt x="80" y="452"/>
                    <a:pt x="82" y="451"/>
                    <a:pt x="82" y="448"/>
                  </a:cubicBezTo>
                  <a:cubicBezTo>
                    <a:pt x="86" y="446"/>
                    <a:pt x="83" y="440"/>
                    <a:pt x="86" y="437"/>
                  </a:cubicBezTo>
                  <a:cubicBezTo>
                    <a:pt x="88" y="435"/>
                    <a:pt x="91" y="436"/>
                    <a:pt x="93" y="436"/>
                  </a:cubicBezTo>
                  <a:cubicBezTo>
                    <a:pt x="94" y="436"/>
                    <a:pt x="95" y="436"/>
                    <a:pt x="96" y="436"/>
                  </a:cubicBezTo>
                  <a:cubicBezTo>
                    <a:pt x="96" y="436"/>
                    <a:pt x="103" y="433"/>
                    <a:pt x="100" y="431"/>
                  </a:cubicBezTo>
                  <a:cubicBezTo>
                    <a:pt x="98" y="430"/>
                    <a:pt x="102" y="427"/>
                    <a:pt x="100" y="426"/>
                  </a:cubicBezTo>
                  <a:cubicBezTo>
                    <a:pt x="99" y="425"/>
                    <a:pt x="96" y="429"/>
                    <a:pt x="96" y="426"/>
                  </a:cubicBezTo>
                  <a:cubicBezTo>
                    <a:pt x="95" y="422"/>
                    <a:pt x="91" y="420"/>
                    <a:pt x="91" y="419"/>
                  </a:cubicBezTo>
                  <a:cubicBezTo>
                    <a:pt x="91" y="417"/>
                    <a:pt x="91" y="410"/>
                    <a:pt x="92" y="410"/>
                  </a:cubicBezTo>
                  <a:cubicBezTo>
                    <a:pt x="94" y="410"/>
                    <a:pt x="97" y="413"/>
                    <a:pt x="99" y="413"/>
                  </a:cubicBezTo>
                  <a:cubicBezTo>
                    <a:pt x="101" y="413"/>
                    <a:pt x="109" y="410"/>
                    <a:pt x="109" y="408"/>
                  </a:cubicBezTo>
                  <a:cubicBezTo>
                    <a:pt x="109" y="406"/>
                    <a:pt x="109" y="405"/>
                    <a:pt x="108" y="402"/>
                  </a:cubicBezTo>
                  <a:cubicBezTo>
                    <a:pt x="106" y="391"/>
                    <a:pt x="104" y="384"/>
                    <a:pt x="100" y="372"/>
                  </a:cubicBezTo>
                  <a:cubicBezTo>
                    <a:pt x="99" y="369"/>
                    <a:pt x="96" y="362"/>
                    <a:pt x="92" y="360"/>
                  </a:cubicBezTo>
                  <a:cubicBezTo>
                    <a:pt x="87" y="357"/>
                    <a:pt x="83" y="354"/>
                    <a:pt x="79" y="350"/>
                  </a:cubicBezTo>
                  <a:cubicBezTo>
                    <a:pt x="80" y="349"/>
                    <a:pt x="80" y="349"/>
                    <a:pt x="81" y="349"/>
                  </a:cubicBezTo>
                  <a:cubicBezTo>
                    <a:pt x="82" y="346"/>
                    <a:pt x="85" y="348"/>
                    <a:pt x="88" y="347"/>
                  </a:cubicBezTo>
                  <a:cubicBezTo>
                    <a:pt x="91" y="344"/>
                    <a:pt x="92" y="341"/>
                    <a:pt x="97" y="337"/>
                  </a:cubicBezTo>
                  <a:cubicBezTo>
                    <a:pt x="101" y="334"/>
                    <a:pt x="98" y="334"/>
                    <a:pt x="100" y="331"/>
                  </a:cubicBezTo>
                  <a:cubicBezTo>
                    <a:pt x="101" y="329"/>
                    <a:pt x="103" y="325"/>
                    <a:pt x="101" y="322"/>
                  </a:cubicBezTo>
                  <a:cubicBezTo>
                    <a:pt x="97" y="316"/>
                    <a:pt x="101" y="307"/>
                    <a:pt x="94" y="309"/>
                  </a:cubicBezTo>
                  <a:lnTo>
                    <a:pt x="85" y="309"/>
                  </a:lnTo>
                  <a:cubicBezTo>
                    <a:pt x="81" y="307"/>
                    <a:pt x="70" y="305"/>
                    <a:pt x="67" y="305"/>
                  </a:cubicBezTo>
                  <a:cubicBezTo>
                    <a:pt x="66" y="305"/>
                    <a:pt x="63" y="305"/>
                    <a:pt x="63" y="303"/>
                  </a:cubicBezTo>
                  <a:cubicBezTo>
                    <a:pt x="63" y="300"/>
                    <a:pt x="66" y="299"/>
                    <a:pt x="67" y="296"/>
                  </a:cubicBezTo>
                  <a:cubicBezTo>
                    <a:pt x="68" y="294"/>
                    <a:pt x="66" y="292"/>
                    <a:pt x="68" y="291"/>
                  </a:cubicBezTo>
                  <a:cubicBezTo>
                    <a:pt x="69" y="290"/>
                    <a:pt x="71" y="291"/>
                    <a:pt x="73" y="291"/>
                  </a:cubicBezTo>
                  <a:cubicBezTo>
                    <a:pt x="75" y="291"/>
                    <a:pt x="76" y="288"/>
                    <a:pt x="80" y="288"/>
                  </a:cubicBezTo>
                  <a:cubicBezTo>
                    <a:pt x="83" y="288"/>
                    <a:pt x="84" y="292"/>
                    <a:pt x="87" y="292"/>
                  </a:cubicBezTo>
                  <a:cubicBezTo>
                    <a:pt x="88" y="292"/>
                    <a:pt x="89" y="291"/>
                    <a:pt x="90" y="291"/>
                  </a:cubicBezTo>
                  <a:cubicBezTo>
                    <a:pt x="94" y="291"/>
                    <a:pt x="95" y="295"/>
                    <a:pt x="97" y="299"/>
                  </a:cubicBezTo>
                  <a:cubicBezTo>
                    <a:pt x="97" y="300"/>
                    <a:pt x="100" y="305"/>
                    <a:pt x="102" y="305"/>
                  </a:cubicBezTo>
                  <a:cubicBezTo>
                    <a:pt x="104" y="305"/>
                    <a:pt x="106" y="303"/>
                    <a:pt x="108" y="303"/>
                  </a:cubicBezTo>
                  <a:cubicBezTo>
                    <a:pt x="110" y="303"/>
                    <a:pt x="110" y="305"/>
                    <a:pt x="112" y="305"/>
                  </a:cubicBezTo>
                  <a:cubicBezTo>
                    <a:pt x="119" y="305"/>
                    <a:pt x="120" y="298"/>
                    <a:pt x="125" y="296"/>
                  </a:cubicBezTo>
                  <a:cubicBezTo>
                    <a:pt x="128" y="295"/>
                    <a:pt x="131" y="298"/>
                    <a:pt x="134" y="297"/>
                  </a:cubicBezTo>
                  <a:cubicBezTo>
                    <a:pt x="135" y="296"/>
                    <a:pt x="135" y="293"/>
                    <a:pt x="138" y="293"/>
                  </a:cubicBezTo>
                  <a:cubicBezTo>
                    <a:pt x="139" y="293"/>
                    <a:pt x="139" y="294"/>
                    <a:pt x="140" y="294"/>
                  </a:cubicBezTo>
                  <a:cubicBezTo>
                    <a:pt x="144" y="294"/>
                    <a:pt x="144" y="289"/>
                    <a:pt x="147" y="288"/>
                  </a:cubicBezTo>
                  <a:cubicBezTo>
                    <a:pt x="147" y="288"/>
                    <a:pt x="148" y="289"/>
                    <a:pt x="149" y="289"/>
                  </a:cubicBezTo>
                  <a:cubicBezTo>
                    <a:pt x="151" y="289"/>
                    <a:pt x="151" y="288"/>
                    <a:pt x="151" y="287"/>
                  </a:cubicBezTo>
                  <a:cubicBezTo>
                    <a:pt x="151" y="281"/>
                    <a:pt x="148" y="276"/>
                    <a:pt x="148" y="269"/>
                  </a:cubicBezTo>
                  <a:cubicBezTo>
                    <a:pt x="148" y="266"/>
                    <a:pt x="149" y="264"/>
                    <a:pt x="148" y="261"/>
                  </a:cubicBezTo>
                  <a:cubicBezTo>
                    <a:pt x="147" y="258"/>
                    <a:pt x="145" y="257"/>
                    <a:pt x="143" y="255"/>
                  </a:cubicBezTo>
                  <a:cubicBezTo>
                    <a:pt x="142" y="253"/>
                    <a:pt x="142" y="250"/>
                    <a:pt x="141" y="247"/>
                  </a:cubicBezTo>
                  <a:lnTo>
                    <a:pt x="141" y="239"/>
                  </a:lnTo>
                  <a:cubicBezTo>
                    <a:pt x="139" y="237"/>
                    <a:pt x="138" y="233"/>
                    <a:pt x="134" y="234"/>
                  </a:cubicBezTo>
                  <a:cubicBezTo>
                    <a:pt x="127" y="234"/>
                    <a:pt x="123" y="238"/>
                    <a:pt x="116" y="239"/>
                  </a:cubicBezTo>
                  <a:cubicBezTo>
                    <a:pt x="108" y="241"/>
                    <a:pt x="111" y="229"/>
                    <a:pt x="108" y="225"/>
                  </a:cubicBezTo>
                  <a:cubicBezTo>
                    <a:pt x="107" y="223"/>
                    <a:pt x="102" y="221"/>
                    <a:pt x="102" y="219"/>
                  </a:cubicBezTo>
                  <a:cubicBezTo>
                    <a:pt x="101" y="217"/>
                    <a:pt x="101" y="214"/>
                    <a:pt x="100" y="212"/>
                  </a:cubicBezTo>
                  <a:cubicBezTo>
                    <a:pt x="99" y="209"/>
                    <a:pt x="93" y="210"/>
                    <a:pt x="93" y="206"/>
                  </a:cubicBezTo>
                  <a:cubicBezTo>
                    <a:pt x="93" y="202"/>
                    <a:pt x="90" y="199"/>
                    <a:pt x="89" y="199"/>
                  </a:cubicBezTo>
                  <a:cubicBezTo>
                    <a:pt x="86" y="197"/>
                    <a:pt x="86" y="192"/>
                    <a:pt x="81" y="192"/>
                  </a:cubicBezTo>
                  <a:cubicBezTo>
                    <a:pt x="79" y="192"/>
                    <a:pt x="75" y="192"/>
                    <a:pt x="72" y="192"/>
                  </a:cubicBezTo>
                  <a:cubicBezTo>
                    <a:pt x="65" y="192"/>
                    <a:pt x="69" y="186"/>
                    <a:pt x="67" y="182"/>
                  </a:cubicBezTo>
                  <a:cubicBezTo>
                    <a:pt x="65" y="179"/>
                    <a:pt x="64" y="175"/>
                    <a:pt x="60" y="172"/>
                  </a:cubicBezTo>
                  <a:cubicBezTo>
                    <a:pt x="58" y="170"/>
                    <a:pt x="55" y="163"/>
                    <a:pt x="54" y="159"/>
                  </a:cubicBezTo>
                  <a:cubicBezTo>
                    <a:pt x="53" y="156"/>
                    <a:pt x="55" y="151"/>
                    <a:pt x="51" y="151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49" y="152"/>
                    <a:pt x="49" y="153"/>
                    <a:pt x="49" y="153"/>
                  </a:cubicBezTo>
                  <a:cubicBezTo>
                    <a:pt x="49" y="158"/>
                    <a:pt x="48" y="161"/>
                    <a:pt x="43" y="161"/>
                  </a:cubicBezTo>
                  <a:cubicBezTo>
                    <a:pt x="38" y="162"/>
                    <a:pt x="37" y="159"/>
                    <a:pt x="37" y="156"/>
                  </a:cubicBezTo>
                  <a:cubicBezTo>
                    <a:pt x="37" y="154"/>
                    <a:pt x="38" y="154"/>
                    <a:pt x="37" y="150"/>
                  </a:cubicBezTo>
                  <a:cubicBezTo>
                    <a:pt x="37" y="149"/>
                    <a:pt x="31" y="144"/>
                    <a:pt x="31" y="144"/>
                  </a:cubicBezTo>
                  <a:cubicBezTo>
                    <a:pt x="30" y="142"/>
                    <a:pt x="31" y="140"/>
                    <a:pt x="31" y="137"/>
                  </a:cubicBezTo>
                  <a:cubicBezTo>
                    <a:pt x="30" y="135"/>
                    <a:pt x="28" y="135"/>
                    <a:pt x="28" y="131"/>
                  </a:cubicBezTo>
                  <a:cubicBezTo>
                    <a:pt x="28" y="129"/>
                    <a:pt x="26" y="125"/>
                    <a:pt x="24" y="125"/>
                  </a:cubicBezTo>
                  <a:cubicBezTo>
                    <a:pt x="22" y="125"/>
                    <a:pt x="19" y="122"/>
                    <a:pt x="18" y="121"/>
                  </a:cubicBezTo>
                  <a:cubicBezTo>
                    <a:pt x="17" y="119"/>
                    <a:pt x="17" y="116"/>
                    <a:pt x="15" y="116"/>
                  </a:cubicBezTo>
                  <a:cubicBezTo>
                    <a:pt x="13" y="116"/>
                    <a:pt x="13" y="117"/>
                    <a:pt x="12" y="117"/>
                  </a:cubicBezTo>
                  <a:cubicBezTo>
                    <a:pt x="10" y="117"/>
                    <a:pt x="7" y="116"/>
                    <a:pt x="7" y="113"/>
                  </a:cubicBezTo>
                  <a:cubicBezTo>
                    <a:pt x="7" y="112"/>
                    <a:pt x="8" y="110"/>
                    <a:pt x="8" y="110"/>
                  </a:cubicBezTo>
                  <a:cubicBezTo>
                    <a:pt x="8" y="104"/>
                    <a:pt x="8" y="103"/>
                    <a:pt x="8" y="100"/>
                  </a:cubicBezTo>
                  <a:cubicBezTo>
                    <a:pt x="8" y="97"/>
                    <a:pt x="8" y="97"/>
                    <a:pt x="6" y="97"/>
                  </a:cubicBezTo>
                  <a:cubicBezTo>
                    <a:pt x="4" y="97"/>
                    <a:pt x="2" y="96"/>
                    <a:pt x="0" y="94"/>
                  </a:cubicBezTo>
                  <a:lnTo>
                    <a:pt x="1" y="1"/>
                  </a:lnTo>
                  <a:lnTo>
                    <a:pt x="15" y="0"/>
                  </a:lnTo>
                  <a:cubicBezTo>
                    <a:pt x="16" y="3"/>
                    <a:pt x="42" y="1"/>
                    <a:pt x="44" y="1"/>
                  </a:cubicBezTo>
                  <a:cubicBezTo>
                    <a:pt x="47" y="3"/>
                    <a:pt x="64" y="2"/>
                    <a:pt x="64" y="2"/>
                  </a:cubicBezTo>
                  <a:cubicBezTo>
                    <a:pt x="68" y="4"/>
                    <a:pt x="70" y="6"/>
                    <a:pt x="75" y="6"/>
                  </a:cubicBezTo>
                  <a:cubicBezTo>
                    <a:pt x="75" y="9"/>
                    <a:pt x="81" y="14"/>
                    <a:pt x="83" y="15"/>
                  </a:cubicBezTo>
                  <a:lnTo>
                    <a:pt x="147" y="59"/>
                  </a:lnTo>
                  <a:cubicBezTo>
                    <a:pt x="148" y="60"/>
                    <a:pt x="149" y="65"/>
                    <a:pt x="153" y="65"/>
                  </a:cubicBezTo>
                  <a:cubicBezTo>
                    <a:pt x="157" y="65"/>
                    <a:pt x="154" y="67"/>
                    <a:pt x="159" y="66"/>
                  </a:cubicBezTo>
                  <a:cubicBezTo>
                    <a:pt x="162" y="65"/>
                    <a:pt x="173" y="68"/>
                    <a:pt x="178" y="68"/>
                  </a:cubicBezTo>
                  <a:cubicBezTo>
                    <a:pt x="183" y="68"/>
                    <a:pt x="182" y="63"/>
                    <a:pt x="185" y="63"/>
                  </a:cubicBezTo>
                  <a:cubicBezTo>
                    <a:pt x="185" y="63"/>
                    <a:pt x="186" y="68"/>
                    <a:pt x="193" y="68"/>
                  </a:cubicBezTo>
                  <a:cubicBezTo>
                    <a:pt x="194" y="68"/>
                    <a:pt x="196" y="63"/>
                    <a:pt x="198" y="68"/>
                  </a:cubicBezTo>
                  <a:cubicBezTo>
                    <a:pt x="198" y="68"/>
                    <a:pt x="200" y="70"/>
                    <a:pt x="200" y="70"/>
                  </a:cubicBezTo>
                  <a:cubicBezTo>
                    <a:pt x="206" y="74"/>
                    <a:pt x="210" y="74"/>
                    <a:pt x="217" y="74"/>
                  </a:cubicBezTo>
                  <a:cubicBezTo>
                    <a:pt x="221" y="74"/>
                    <a:pt x="223" y="72"/>
                    <a:pt x="224" y="72"/>
                  </a:cubicBezTo>
                  <a:cubicBezTo>
                    <a:pt x="229" y="72"/>
                    <a:pt x="230" y="77"/>
                    <a:pt x="236" y="77"/>
                  </a:cubicBezTo>
                  <a:cubicBezTo>
                    <a:pt x="237" y="77"/>
                    <a:pt x="239" y="77"/>
                    <a:pt x="241" y="77"/>
                  </a:cubicBezTo>
                  <a:lnTo>
                    <a:pt x="240" y="89"/>
                  </a:lnTo>
                  <a:cubicBezTo>
                    <a:pt x="242" y="93"/>
                    <a:pt x="243" y="96"/>
                    <a:pt x="244" y="102"/>
                  </a:cubicBezTo>
                  <a:cubicBezTo>
                    <a:pt x="245" y="114"/>
                    <a:pt x="236" y="116"/>
                    <a:pt x="229" y="119"/>
                  </a:cubicBezTo>
                  <a:cubicBezTo>
                    <a:pt x="227" y="120"/>
                    <a:pt x="224" y="126"/>
                    <a:pt x="223" y="130"/>
                  </a:cubicBezTo>
                  <a:cubicBezTo>
                    <a:pt x="222" y="133"/>
                    <a:pt x="219" y="137"/>
                    <a:pt x="218" y="141"/>
                  </a:cubicBezTo>
                  <a:lnTo>
                    <a:pt x="217" y="148"/>
                  </a:lnTo>
                  <a:cubicBezTo>
                    <a:pt x="217" y="148"/>
                    <a:pt x="215" y="151"/>
                    <a:pt x="210" y="151"/>
                  </a:cubicBezTo>
                  <a:lnTo>
                    <a:pt x="210" y="155"/>
                  </a:lnTo>
                  <a:cubicBezTo>
                    <a:pt x="213" y="161"/>
                    <a:pt x="212" y="168"/>
                    <a:pt x="214" y="170"/>
                  </a:cubicBezTo>
                  <a:cubicBezTo>
                    <a:pt x="218" y="178"/>
                    <a:pt x="212" y="179"/>
                    <a:pt x="215" y="183"/>
                  </a:cubicBezTo>
                  <a:cubicBezTo>
                    <a:pt x="217" y="187"/>
                    <a:pt x="220" y="191"/>
                    <a:pt x="222" y="196"/>
                  </a:cubicBezTo>
                  <a:cubicBezTo>
                    <a:pt x="223" y="200"/>
                    <a:pt x="228" y="202"/>
                    <a:pt x="230" y="205"/>
                  </a:cubicBezTo>
                  <a:cubicBezTo>
                    <a:pt x="231" y="207"/>
                    <a:pt x="231" y="211"/>
                    <a:pt x="233" y="214"/>
                  </a:cubicBezTo>
                  <a:cubicBezTo>
                    <a:pt x="236" y="218"/>
                    <a:pt x="243" y="217"/>
                    <a:pt x="246" y="223"/>
                  </a:cubicBezTo>
                  <a:cubicBezTo>
                    <a:pt x="248" y="227"/>
                    <a:pt x="250" y="228"/>
                    <a:pt x="253" y="229"/>
                  </a:cubicBezTo>
                  <a:lnTo>
                    <a:pt x="239" y="235"/>
                  </a:lnTo>
                  <a:lnTo>
                    <a:pt x="242" y="242"/>
                  </a:lnTo>
                  <a:lnTo>
                    <a:pt x="253" y="273"/>
                  </a:lnTo>
                  <a:cubicBezTo>
                    <a:pt x="248" y="276"/>
                    <a:pt x="241" y="277"/>
                    <a:pt x="239" y="282"/>
                  </a:cubicBezTo>
                  <a:cubicBezTo>
                    <a:pt x="237" y="285"/>
                    <a:pt x="235" y="290"/>
                    <a:pt x="231" y="293"/>
                  </a:cubicBezTo>
                  <a:cubicBezTo>
                    <a:pt x="227" y="296"/>
                    <a:pt x="223" y="299"/>
                    <a:pt x="218" y="301"/>
                  </a:cubicBezTo>
                  <a:cubicBezTo>
                    <a:pt x="214" y="302"/>
                    <a:pt x="208" y="301"/>
                    <a:pt x="206" y="304"/>
                  </a:cubicBezTo>
                  <a:cubicBezTo>
                    <a:pt x="204" y="306"/>
                    <a:pt x="205" y="309"/>
                    <a:pt x="203" y="310"/>
                  </a:cubicBezTo>
                  <a:cubicBezTo>
                    <a:pt x="200" y="312"/>
                    <a:pt x="195" y="309"/>
                    <a:pt x="195" y="314"/>
                  </a:cubicBezTo>
                  <a:cubicBezTo>
                    <a:pt x="195" y="316"/>
                    <a:pt x="197" y="315"/>
                    <a:pt x="198" y="318"/>
                  </a:cubicBezTo>
                  <a:cubicBezTo>
                    <a:pt x="198" y="322"/>
                    <a:pt x="198" y="324"/>
                    <a:pt x="199" y="327"/>
                  </a:cubicBezTo>
                  <a:cubicBezTo>
                    <a:pt x="199" y="329"/>
                    <a:pt x="202" y="331"/>
                    <a:pt x="202" y="334"/>
                  </a:cubicBezTo>
                  <a:cubicBezTo>
                    <a:pt x="202" y="336"/>
                    <a:pt x="201" y="337"/>
                    <a:pt x="201" y="339"/>
                  </a:cubicBezTo>
                  <a:lnTo>
                    <a:pt x="202" y="352"/>
                  </a:lnTo>
                  <a:cubicBezTo>
                    <a:pt x="201" y="353"/>
                    <a:pt x="201" y="355"/>
                    <a:pt x="200" y="355"/>
                  </a:cubicBezTo>
                  <a:cubicBezTo>
                    <a:pt x="199" y="355"/>
                    <a:pt x="198" y="354"/>
                    <a:pt x="197" y="354"/>
                  </a:cubicBezTo>
                  <a:cubicBezTo>
                    <a:pt x="196" y="354"/>
                    <a:pt x="195" y="355"/>
                    <a:pt x="194" y="355"/>
                  </a:cubicBezTo>
                  <a:cubicBezTo>
                    <a:pt x="193" y="355"/>
                    <a:pt x="190" y="352"/>
                    <a:pt x="188" y="352"/>
                  </a:cubicBezTo>
                  <a:cubicBezTo>
                    <a:pt x="187" y="352"/>
                    <a:pt x="186" y="354"/>
                    <a:pt x="186" y="355"/>
                  </a:cubicBezTo>
                  <a:cubicBezTo>
                    <a:pt x="181" y="354"/>
                    <a:pt x="183" y="357"/>
                    <a:pt x="180" y="357"/>
                  </a:cubicBezTo>
                  <a:cubicBezTo>
                    <a:pt x="180" y="357"/>
                    <a:pt x="176" y="356"/>
                    <a:pt x="178" y="359"/>
                  </a:cubicBezTo>
                  <a:lnTo>
                    <a:pt x="221" y="440"/>
                  </a:lnTo>
                  <a:lnTo>
                    <a:pt x="221" y="476"/>
                  </a:lnTo>
                  <a:cubicBezTo>
                    <a:pt x="221" y="477"/>
                    <a:pt x="221" y="483"/>
                    <a:pt x="220" y="485"/>
                  </a:cubicBezTo>
                  <a:cubicBezTo>
                    <a:pt x="219" y="486"/>
                    <a:pt x="218" y="487"/>
                    <a:pt x="218" y="488"/>
                  </a:cubicBezTo>
                  <a:cubicBezTo>
                    <a:pt x="218" y="489"/>
                    <a:pt x="218" y="489"/>
                    <a:pt x="218" y="490"/>
                  </a:cubicBezTo>
                  <a:cubicBezTo>
                    <a:pt x="218" y="490"/>
                    <a:pt x="220" y="495"/>
                    <a:pt x="220" y="499"/>
                  </a:cubicBezTo>
                  <a:cubicBezTo>
                    <a:pt x="220" y="509"/>
                    <a:pt x="217" y="511"/>
                    <a:pt x="213" y="519"/>
                  </a:cubicBezTo>
                  <a:cubicBezTo>
                    <a:pt x="210" y="525"/>
                    <a:pt x="208" y="536"/>
                    <a:pt x="202" y="537"/>
                  </a:cubicBezTo>
                  <a:cubicBezTo>
                    <a:pt x="200" y="537"/>
                    <a:pt x="201" y="541"/>
                    <a:pt x="198" y="541"/>
                  </a:cubicBezTo>
                  <a:cubicBezTo>
                    <a:pt x="197" y="541"/>
                    <a:pt x="195" y="539"/>
                    <a:pt x="195" y="542"/>
                  </a:cubicBezTo>
                  <a:lnTo>
                    <a:pt x="214" y="572"/>
                  </a:lnTo>
                  <a:cubicBezTo>
                    <a:pt x="217" y="577"/>
                    <a:pt x="220" y="580"/>
                    <a:pt x="223" y="584"/>
                  </a:cubicBezTo>
                  <a:cubicBezTo>
                    <a:pt x="223" y="585"/>
                    <a:pt x="225" y="586"/>
                    <a:pt x="225" y="587"/>
                  </a:cubicBezTo>
                  <a:cubicBezTo>
                    <a:pt x="225" y="589"/>
                    <a:pt x="224" y="589"/>
                    <a:pt x="224" y="590"/>
                  </a:cubicBezTo>
                  <a:lnTo>
                    <a:pt x="214" y="590"/>
                  </a:lnTo>
                  <a:cubicBezTo>
                    <a:pt x="211" y="591"/>
                    <a:pt x="210" y="592"/>
                    <a:pt x="207" y="592"/>
                  </a:cubicBezTo>
                  <a:cubicBezTo>
                    <a:pt x="204" y="592"/>
                    <a:pt x="204" y="590"/>
                    <a:pt x="201" y="590"/>
                  </a:cubicBezTo>
                  <a:cubicBezTo>
                    <a:pt x="195" y="590"/>
                    <a:pt x="195" y="588"/>
                    <a:pt x="191" y="585"/>
                  </a:cubicBezTo>
                  <a:cubicBezTo>
                    <a:pt x="187" y="583"/>
                    <a:pt x="184" y="585"/>
                    <a:pt x="182" y="585"/>
                  </a:cubicBezTo>
                  <a:cubicBezTo>
                    <a:pt x="181" y="585"/>
                    <a:pt x="180" y="584"/>
                    <a:pt x="179" y="583"/>
                  </a:cubicBezTo>
                  <a:cubicBezTo>
                    <a:pt x="177" y="581"/>
                    <a:pt x="172" y="582"/>
                    <a:pt x="171" y="579"/>
                  </a:cubicBezTo>
                  <a:cubicBezTo>
                    <a:pt x="170" y="577"/>
                    <a:pt x="171" y="574"/>
                    <a:pt x="170" y="572"/>
                  </a:cubicBezTo>
                  <a:cubicBezTo>
                    <a:pt x="168" y="569"/>
                    <a:pt x="160" y="565"/>
                    <a:pt x="156" y="564"/>
                  </a:cubicBezTo>
                  <a:cubicBezTo>
                    <a:pt x="155" y="563"/>
                    <a:pt x="152" y="567"/>
                    <a:pt x="148" y="569"/>
                  </a:cubicBezTo>
                  <a:lnTo>
                    <a:pt x="141" y="57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gray">
            <a:xfrm>
              <a:off x="2574167" y="3677754"/>
              <a:ext cx="658565" cy="725925"/>
            </a:xfrm>
            <a:custGeom>
              <a:avLst/>
              <a:gdLst>
                <a:gd name="T0" fmla="*/ 320 w 95"/>
                <a:gd name="T1" fmla="*/ 39 h 112"/>
                <a:gd name="T2" fmla="*/ 384 w 95"/>
                <a:gd name="T3" fmla="*/ 89 h 112"/>
                <a:gd name="T4" fmla="*/ 424 w 95"/>
                <a:gd name="T5" fmla="*/ 148 h 112"/>
                <a:gd name="T6" fmla="*/ 463 w 95"/>
                <a:gd name="T7" fmla="*/ 296 h 112"/>
                <a:gd name="T8" fmla="*/ 468 w 95"/>
                <a:gd name="T9" fmla="*/ 325 h 112"/>
                <a:gd name="T10" fmla="*/ 419 w 95"/>
                <a:gd name="T11" fmla="*/ 350 h 112"/>
                <a:gd name="T12" fmla="*/ 384 w 95"/>
                <a:gd name="T13" fmla="*/ 335 h 112"/>
                <a:gd name="T14" fmla="*/ 379 w 95"/>
                <a:gd name="T15" fmla="*/ 380 h 112"/>
                <a:gd name="T16" fmla="*/ 404 w 95"/>
                <a:gd name="T17" fmla="*/ 414 h 112"/>
                <a:gd name="T18" fmla="*/ 424 w 95"/>
                <a:gd name="T19" fmla="*/ 414 h 112"/>
                <a:gd name="T20" fmla="*/ 424 w 95"/>
                <a:gd name="T21" fmla="*/ 439 h 112"/>
                <a:gd name="T22" fmla="*/ 404 w 95"/>
                <a:gd name="T23" fmla="*/ 463 h 112"/>
                <a:gd name="T24" fmla="*/ 389 w 95"/>
                <a:gd name="T25" fmla="*/ 463 h 112"/>
                <a:gd name="T26" fmla="*/ 355 w 95"/>
                <a:gd name="T27" fmla="*/ 468 h 112"/>
                <a:gd name="T28" fmla="*/ 335 w 95"/>
                <a:gd name="T29" fmla="*/ 522 h 112"/>
                <a:gd name="T30" fmla="*/ 325 w 95"/>
                <a:gd name="T31" fmla="*/ 513 h 112"/>
                <a:gd name="T32" fmla="*/ 276 w 95"/>
                <a:gd name="T33" fmla="*/ 488 h 112"/>
                <a:gd name="T34" fmla="*/ 241 w 95"/>
                <a:gd name="T35" fmla="*/ 498 h 112"/>
                <a:gd name="T36" fmla="*/ 222 w 95"/>
                <a:gd name="T37" fmla="*/ 498 h 112"/>
                <a:gd name="T38" fmla="*/ 172 w 95"/>
                <a:gd name="T39" fmla="*/ 547 h 112"/>
                <a:gd name="T40" fmla="*/ 172 w 95"/>
                <a:gd name="T41" fmla="*/ 547 h 112"/>
                <a:gd name="T42" fmla="*/ 172 w 95"/>
                <a:gd name="T43" fmla="*/ 552 h 112"/>
                <a:gd name="T44" fmla="*/ 172 w 95"/>
                <a:gd name="T45" fmla="*/ 552 h 112"/>
                <a:gd name="T46" fmla="*/ 113 w 95"/>
                <a:gd name="T47" fmla="*/ 532 h 112"/>
                <a:gd name="T48" fmla="*/ 128 w 95"/>
                <a:gd name="T49" fmla="*/ 473 h 112"/>
                <a:gd name="T50" fmla="*/ 148 w 95"/>
                <a:gd name="T51" fmla="*/ 444 h 112"/>
                <a:gd name="T52" fmla="*/ 133 w 95"/>
                <a:gd name="T53" fmla="*/ 424 h 112"/>
                <a:gd name="T54" fmla="*/ 123 w 95"/>
                <a:gd name="T55" fmla="*/ 370 h 112"/>
                <a:gd name="T56" fmla="*/ 113 w 95"/>
                <a:gd name="T57" fmla="*/ 350 h 112"/>
                <a:gd name="T58" fmla="*/ 118 w 95"/>
                <a:gd name="T59" fmla="*/ 325 h 112"/>
                <a:gd name="T60" fmla="*/ 99 w 95"/>
                <a:gd name="T61" fmla="*/ 276 h 112"/>
                <a:gd name="T62" fmla="*/ 69 w 95"/>
                <a:gd name="T63" fmla="*/ 266 h 112"/>
                <a:gd name="T64" fmla="*/ 39 w 95"/>
                <a:gd name="T65" fmla="*/ 197 h 112"/>
                <a:gd name="T66" fmla="*/ 0 w 95"/>
                <a:gd name="T67" fmla="*/ 138 h 112"/>
                <a:gd name="T68" fmla="*/ 34 w 95"/>
                <a:gd name="T69" fmla="*/ 35 h 112"/>
                <a:gd name="T70" fmla="*/ 69 w 95"/>
                <a:gd name="T71" fmla="*/ 25 h 112"/>
                <a:gd name="T72" fmla="*/ 99 w 95"/>
                <a:gd name="T73" fmla="*/ 0 h 112"/>
                <a:gd name="T74" fmla="*/ 113 w 95"/>
                <a:gd name="T75" fmla="*/ 25 h 112"/>
                <a:gd name="T76" fmla="*/ 123 w 95"/>
                <a:gd name="T77" fmla="*/ 25 h 112"/>
                <a:gd name="T78" fmla="*/ 138 w 95"/>
                <a:gd name="T79" fmla="*/ 35 h 112"/>
                <a:gd name="T80" fmla="*/ 148 w 95"/>
                <a:gd name="T81" fmla="*/ 54 h 112"/>
                <a:gd name="T82" fmla="*/ 123 w 95"/>
                <a:gd name="T83" fmla="*/ 84 h 112"/>
                <a:gd name="T84" fmla="*/ 158 w 95"/>
                <a:gd name="T85" fmla="*/ 104 h 112"/>
                <a:gd name="T86" fmla="*/ 217 w 95"/>
                <a:gd name="T87" fmla="*/ 94 h 112"/>
                <a:gd name="T88" fmla="*/ 236 w 95"/>
                <a:gd name="T89" fmla="*/ 108 h 112"/>
                <a:gd name="T90" fmla="*/ 232 w 95"/>
                <a:gd name="T91" fmla="*/ 128 h 112"/>
                <a:gd name="T92" fmla="*/ 261 w 95"/>
                <a:gd name="T93" fmla="*/ 158 h 112"/>
                <a:gd name="T94" fmla="*/ 296 w 95"/>
                <a:gd name="T95" fmla="*/ 123 h 112"/>
                <a:gd name="T96" fmla="*/ 296 w 95"/>
                <a:gd name="T97" fmla="*/ 84 h 112"/>
                <a:gd name="T98" fmla="*/ 320 w 95"/>
                <a:gd name="T99" fmla="*/ 39 h 112"/>
                <a:gd name="T100" fmla="*/ 320 w 95"/>
                <a:gd name="T101" fmla="*/ 39 h 112"/>
                <a:gd name="T102" fmla="*/ 320 w 95"/>
                <a:gd name="T103" fmla="*/ 39 h 112"/>
                <a:gd name="T104" fmla="*/ 320 w 95"/>
                <a:gd name="T105" fmla="*/ 39 h 11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95"/>
                <a:gd name="T160" fmla="*/ 0 h 112"/>
                <a:gd name="T161" fmla="*/ 95 w 95"/>
                <a:gd name="T162" fmla="*/ 112 h 11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95" h="112">
                  <a:moveTo>
                    <a:pt x="65" y="8"/>
                  </a:moveTo>
                  <a:cubicBezTo>
                    <a:pt x="69" y="12"/>
                    <a:pt x="73" y="15"/>
                    <a:pt x="78" y="18"/>
                  </a:cubicBezTo>
                  <a:cubicBezTo>
                    <a:pt x="82" y="20"/>
                    <a:pt x="85" y="27"/>
                    <a:pt x="86" y="30"/>
                  </a:cubicBezTo>
                  <a:cubicBezTo>
                    <a:pt x="90" y="42"/>
                    <a:pt x="92" y="49"/>
                    <a:pt x="94" y="60"/>
                  </a:cubicBezTo>
                  <a:cubicBezTo>
                    <a:pt x="95" y="63"/>
                    <a:pt x="95" y="64"/>
                    <a:pt x="95" y="66"/>
                  </a:cubicBezTo>
                  <a:cubicBezTo>
                    <a:pt x="95" y="68"/>
                    <a:pt x="87" y="71"/>
                    <a:pt x="85" y="71"/>
                  </a:cubicBezTo>
                  <a:cubicBezTo>
                    <a:pt x="83" y="71"/>
                    <a:pt x="80" y="68"/>
                    <a:pt x="78" y="68"/>
                  </a:cubicBezTo>
                  <a:cubicBezTo>
                    <a:pt x="77" y="68"/>
                    <a:pt x="77" y="75"/>
                    <a:pt x="77" y="77"/>
                  </a:cubicBezTo>
                  <a:cubicBezTo>
                    <a:pt x="77" y="78"/>
                    <a:pt x="81" y="80"/>
                    <a:pt x="82" y="84"/>
                  </a:cubicBezTo>
                  <a:cubicBezTo>
                    <a:pt x="82" y="87"/>
                    <a:pt x="85" y="83"/>
                    <a:pt x="86" y="84"/>
                  </a:cubicBezTo>
                  <a:cubicBezTo>
                    <a:pt x="88" y="85"/>
                    <a:pt x="84" y="88"/>
                    <a:pt x="86" y="89"/>
                  </a:cubicBezTo>
                  <a:cubicBezTo>
                    <a:pt x="89" y="91"/>
                    <a:pt x="82" y="94"/>
                    <a:pt x="82" y="94"/>
                  </a:cubicBezTo>
                  <a:cubicBezTo>
                    <a:pt x="81" y="94"/>
                    <a:pt x="80" y="94"/>
                    <a:pt x="79" y="94"/>
                  </a:cubicBezTo>
                  <a:cubicBezTo>
                    <a:pt x="77" y="94"/>
                    <a:pt x="74" y="93"/>
                    <a:pt x="72" y="95"/>
                  </a:cubicBezTo>
                  <a:cubicBezTo>
                    <a:pt x="69" y="98"/>
                    <a:pt x="72" y="104"/>
                    <a:pt x="68" y="106"/>
                  </a:cubicBezTo>
                  <a:cubicBezTo>
                    <a:pt x="68" y="105"/>
                    <a:pt x="67" y="104"/>
                    <a:pt x="66" y="104"/>
                  </a:cubicBezTo>
                  <a:cubicBezTo>
                    <a:pt x="58" y="105"/>
                    <a:pt x="57" y="105"/>
                    <a:pt x="56" y="99"/>
                  </a:cubicBezTo>
                  <a:cubicBezTo>
                    <a:pt x="53" y="99"/>
                    <a:pt x="51" y="101"/>
                    <a:pt x="49" y="101"/>
                  </a:cubicBezTo>
                  <a:cubicBezTo>
                    <a:pt x="48" y="101"/>
                    <a:pt x="47" y="101"/>
                    <a:pt x="45" y="101"/>
                  </a:cubicBezTo>
                  <a:cubicBezTo>
                    <a:pt x="43" y="101"/>
                    <a:pt x="37" y="109"/>
                    <a:pt x="35" y="111"/>
                  </a:cubicBezTo>
                  <a:lnTo>
                    <a:pt x="35" y="112"/>
                  </a:lnTo>
                  <a:cubicBezTo>
                    <a:pt x="32" y="109"/>
                    <a:pt x="29" y="108"/>
                    <a:pt x="23" y="108"/>
                  </a:cubicBezTo>
                  <a:cubicBezTo>
                    <a:pt x="20" y="109"/>
                    <a:pt x="24" y="98"/>
                    <a:pt x="26" y="96"/>
                  </a:cubicBezTo>
                  <a:cubicBezTo>
                    <a:pt x="28" y="95"/>
                    <a:pt x="30" y="94"/>
                    <a:pt x="30" y="90"/>
                  </a:cubicBezTo>
                  <a:cubicBezTo>
                    <a:pt x="30" y="88"/>
                    <a:pt x="28" y="87"/>
                    <a:pt x="27" y="86"/>
                  </a:cubicBezTo>
                  <a:cubicBezTo>
                    <a:pt x="25" y="83"/>
                    <a:pt x="25" y="76"/>
                    <a:pt x="25" y="75"/>
                  </a:cubicBezTo>
                  <a:cubicBezTo>
                    <a:pt x="24" y="73"/>
                    <a:pt x="23" y="73"/>
                    <a:pt x="23" y="71"/>
                  </a:cubicBezTo>
                  <a:cubicBezTo>
                    <a:pt x="23" y="69"/>
                    <a:pt x="24" y="69"/>
                    <a:pt x="24" y="66"/>
                  </a:cubicBezTo>
                  <a:cubicBezTo>
                    <a:pt x="24" y="61"/>
                    <a:pt x="23" y="58"/>
                    <a:pt x="20" y="56"/>
                  </a:cubicBezTo>
                  <a:cubicBezTo>
                    <a:pt x="19" y="56"/>
                    <a:pt x="15" y="55"/>
                    <a:pt x="14" y="54"/>
                  </a:cubicBezTo>
                  <a:cubicBezTo>
                    <a:pt x="11" y="51"/>
                    <a:pt x="19" y="39"/>
                    <a:pt x="8" y="40"/>
                  </a:cubicBezTo>
                  <a:cubicBezTo>
                    <a:pt x="5" y="40"/>
                    <a:pt x="0" y="38"/>
                    <a:pt x="0" y="28"/>
                  </a:cubicBezTo>
                  <a:cubicBezTo>
                    <a:pt x="0" y="18"/>
                    <a:pt x="2" y="11"/>
                    <a:pt x="7" y="7"/>
                  </a:cubicBezTo>
                  <a:cubicBezTo>
                    <a:pt x="9" y="5"/>
                    <a:pt x="11" y="7"/>
                    <a:pt x="14" y="5"/>
                  </a:cubicBezTo>
                  <a:cubicBezTo>
                    <a:pt x="15" y="4"/>
                    <a:pt x="18" y="0"/>
                    <a:pt x="20" y="0"/>
                  </a:cubicBezTo>
                  <a:cubicBezTo>
                    <a:pt x="22" y="0"/>
                    <a:pt x="21" y="3"/>
                    <a:pt x="23" y="5"/>
                  </a:cubicBezTo>
                  <a:cubicBezTo>
                    <a:pt x="23" y="5"/>
                    <a:pt x="24" y="5"/>
                    <a:pt x="25" y="5"/>
                  </a:cubicBezTo>
                  <a:cubicBezTo>
                    <a:pt x="27" y="6"/>
                    <a:pt x="28" y="5"/>
                    <a:pt x="28" y="7"/>
                  </a:cubicBezTo>
                  <a:cubicBezTo>
                    <a:pt x="28" y="9"/>
                    <a:pt x="37" y="5"/>
                    <a:pt x="30" y="11"/>
                  </a:cubicBezTo>
                  <a:cubicBezTo>
                    <a:pt x="26" y="14"/>
                    <a:pt x="25" y="11"/>
                    <a:pt x="25" y="17"/>
                  </a:cubicBezTo>
                  <a:cubicBezTo>
                    <a:pt x="25" y="20"/>
                    <a:pt x="29" y="21"/>
                    <a:pt x="32" y="21"/>
                  </a:cubicBezTo>
                  <a:cubicBezTo>
                    <a:pt x="37" y="21"/>
                    <a:pt x="39" y="19"/>
                    <a:pt x="44" y="19"/>
                  </a:cubicBezTo>
                  <a:cubicBezTo>
                    <a:pt x="45" y="19"/>
                    <a:pt x="48" y="19"/>
                    <a:pt x="48" y="22"/>
                  </a:cubicBezTo>
                  <a:cubicBezTo>
                    <a:pt x="48" y="23"/>
                    <a:pt x="47" y="24"/>
                    <a:pt x="47" y="26"/>
                  </a:cubicBezTo>
                  <a:cubicBezTo>
                    <a:pt x="47" y="29"/>
                    <a:pt x="50" y="32"/>
                    <a:pt x="53" y="32"/>
                  </a:cubicBezTo>
                  <a:cubicBezTo>
                    <a:pt x="57" y="32"/>
                    <a:pt x="60" y="30"/>
                    <a:pt x="60" y="25"/>
                  </a:cubicBezTo>
                  <a:cubicBezTo>
                    <a:pt x="60" y="22"/>
                    <a:pt x="60" y="19"/>
                    <a:pt x="60" y="17"/>
                  </a:cubicBezTo>
                  <a:cubicBezTo>
                    <a:pt x="60" y="13"/>
                    <a:pt x="63" y="10"/>
                    <a:pt x="65" y="8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gray">
            <a:xfrm>
              <a:off x="2816204" y="4319514"/>
              <a:ext cx="229372" cy="135453"/>
            </a:xfrm>
            <a:custGeom>
              <a:avLst/>
              <a:gdLst>
                <a:gd name="T0" fmla="*/ 0 w 33"/>
                <a:gd name="T1" fmla="*/ 59 h 21"/>
                <a:gd name="T2" fmla="*/ 49 w 33"/>
                <a:gd name="T3" fmla="*/ 10 h 21"/>
                <a:gd name="T4" fmla="*/ 69 w 33"/>
                <a:gd name="T5" fmla="*/ 10 h 21"/>
                <a:gd name="T6" fmla="*/ 104 w 33"/>
                <a:gd name="T7" fmla="*/ 0 h 21"/>
                <a:gd name="T8" fmla="*/ 153 w 33"/>
                <a:gd name="T9" fmla="*/ 25 h 21"/>
                <a:gd name="T10" fmla="*/ 163 w 33"/>
                <a:gd name="T11" fmla="*/ 34 h 21"/>
                <a:gd name="T12" fmla="*/ 148 w 33"/>
                <a:gd name="T13" fmla="*/ 64 h 21"/>
                <a:gd name="T14" fmla="*/ 109 w 33"/>
                <a:gd name="T15" fmla="*/ 59 h 21"/>
                <a:gd name="T16" fmla="*/ 89 w 33"/>
                <a:gd name="T17" fmla="*/ 88 h 21"/>
                <a:gd name="T18" fmla="*/ 89 w 33"/>
                <a:gd name="T19" fmla="*/ 93 h 21"/>
                <a:gd name="T20" fmla="*/ 64 w 33"/>
                <a:gd name="T21" fmla="*/ 98 h 21"/>
                <a:gd name="T22" fmla="*/ 25 w 33"/>
                <a:gd name="T23" fmla="*/ 88 h 21"/>
                <a:gd name="T24" fmla="*/ 15 w 33"/>
                <a:gd name="T25" fmla="*/ 74 h 21"/>
                <a:gd name="T26" fmla="*/ 0 w 33"/>
                <a:gd name="T27" fmla="*/ 64 h 21"/>
                <a:gd name="T28" fmla="*/ 0 w 33"/>
                <a:gd name="T29" fmla="*/ 64 h 21"/>
                <a:gd name="T30" fmla="*/ 0 w 33"/>
                <a:gd name="T31" fmla="*/ 59 h 21"/>
                <a:gd name="T32" fmla="*/ 0 w 33"/>
                <a:gd name="T33" fmla="*/ 59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3"/>
                <a:gd name="T52" fmla="*/ 0 h 21"/>
                <a:gd name="T53" fmla="*/ 33 w 33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3" h="21">
                  <a:moveTo>
                    <a:pt x="0" y="12"/>
                  </a:moveTo>
                  <a:cubicBezTo>
                    <a:pt x="2" y="10"/>
                    <a:pt x="8" y="2"/>
                    <a:pt x="10" y="2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6" y="2"/>
                    <a:pt x="18" y="0"/>
                    <a:pt x="21" y="0"/>
                  </a:cubicBezTo>
                  <a:cubicBezTo>
                    <a:pt x="22" y="6"/>
                    <a:pt x="23" y="6"/>
                    <a:pt x="31" y="5"/>
                  </a:cubicBezTo>
                  <a:cubicBezTo>
                    <a:pt x="32" y="5"/>
                    <a:pt x="33" y="6"/>
                    <a:pt x="33" y="7"/>
                  </a:cubicBezTo>
                  <a:cubicBezTo>
                    <a:pt x="33" y="10"/>
                    <a:pt x="31" y="11"/>
                    <a:pt x="30" y="13"/>
                  </a:cubicBezTo>
                  <a:cubicBezTo>
                    <a:pt x="29" y="14"/>
                    <a:pt x="24" y="10"/>
                    <a:pt x="22" y="12"/>
                  </a:cubicBezTo>
                  <a:cubicBezTo>
                    <a:pt x="22" y="12"/>
                    <a:pt x="18" y="16"/>
                    <a:pt x="18" y="18"/>
                  </a:cubicBezTo>
                  <a:cubicBezTo>
                    <a:pt x="18" y="18"/>
                    <a:pt x="18" y="19"/>
                    <a:pt x="18" y="19"/>
                  </a:cubicBezTo>
                  <a:cubicBezTo>
                    <a:pt x="18" y="21"/>
                    <a:pt x="15" y="20"/>
                    <a:pt x="13" y="20"/>
                  </a:cubicBezTo>
                  <a:cubicBezTo>
                    <a:pt x="11" y="18"/>
                    <a:pt x="7" y="19"/>
                    <a:pt x="5" y="18"/>
                  </a:cubicBezTo>
                  <a:cubicBezTo>
                    <a:pt x="4" y="18"/>
                    <a:pt x="4" y="16"/>
                    <a:pt x="3" y="15"/>
                  </a:cubicBezTo>
                  <a:cubicBezTo>
                    <a:pt x="2" y="14"/>
                    <a:pt x="1" y="13"/>
                    <a:pt x="0" y="13"/>
                  </a:cubicBezTo>
                  <a:lnTo>
                    <a:pt x="0" y="1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gray">
            <a:xfrm>
              <a:off x="1416050" y="3171448"/>
              <a:ext cx="609313" cy="583896"/>
            </a:xfrm>
            <a:custGeom>
              <a:avLst/>
              <a:gdLst>
                <a:gd name="T0" fmla="*/ 290 w 88"/>
                <a:gd name="T1" fmla="*/ 444 h 90"/>
                <a:gd name="T2" fmla="*/ 256 w 88"/>
                <a:gd name="T3" fmla="*/ 444 h 90"/>
                <a:gd name="T4" fmla="*/ 231 w 88"/>
                <a:gd name="T5" fmla="*/ 434 h 90"/>
                <a:gd name="T6" fmla="*/ 212 w 88"/>
                <a:gd name="T7" fmla="*/ 444 h 90"/>
                <a:gd name="T8" fmla="*/ 207 w 88"/>
                <a:gd name="T9" fmla="*/ 424 h 90"/>
                <a:gd name="T10" fmla="*/ 212 w 88"/>
                <a:gd name="T11" fmla="*/ 405 h 90"/>
                <a:gd name="T12" fmla="*/ 192 w 88"/>
                <a:gd name="T13" fmla="*/ 390 h 90"/>
                <a:gd name="T14" fmla="*/ 177 w 88"/>
                <a:gd name="T15" fmla="*/ 360 h 90"/>
                <a:gd name="T16" fmla="*/ 148 w 88"/>
                <a:gd name="T17" fmla="*/ 316 h 90"/>
                <a:gd name="T18" fmla="*/ 128 w 88"/>
                <a:gd name="T19" fmla="*/ 321 h 90"/>
                <a:gd name="T20" fmla="*/ 113 w 88"/>
                <a:gd name="T21" fmla="*/ 316 h 90"/>
                <a:gd name="T22" fmla="*/ 89 w 88"/>
                <a:gd name="T23" fmla="*/ 335 h 90"/>
                <a:gd name="T24" fmla="*/ 64 w 88"/>
                <a:gd name="T25" fmla="*/ 335 h 90"/>
                <a:gd name="T26" fmla="*/ 49 w 88"/>
                <a:gd name="T27" fmla="*/ 370 h 90"/>
                <a:gd name="T28" fmla="*/ 30 w 88"/>
                <a:gd name="T29" fmla="*/ 400 h 90"/>
                <a:gd name="T30" fmla="*/ 15 w 88"/>
                <a:gd name="T31" fmla="*/ 429 h 90"/>
                <a:gd name="T32" fmla="*/ 0 w 88"/>
                <a:gd name="T33" fmla="*/ 395 h 90"/>
                <a:gd name="T34" fmla="*/ 10 w 88"/>
                <a:gd name="T35" fmla="*/ 390 h 90"/>
                <a:gd name="T36" fmla="*/ 20 w 88"/>
                <a:gd name="T37" fmla="*/ 345 h 90"/>
                <a:gd name="T38" fmla="*/ 25 w 88"/>
                <a:gd name="T39" fmla="*/ 335 h 90"/>
                <a:gd name="T40" fmla="*/ 25 w 88"/>
                <a:gd name="T41" fmla="*/ 335 h 90"/>
                <a:gd name="T42" fmla="*/ 49 w 88"/>
                <a:gd name="T43" fmla="*/ 301 h 90"/>
                <a:gd name="T44" fmla="*/ 49 w 88"/>
                <a:gd name="T45" fmla="*/ 301 h 90"/>
                <a:gd name="T46" fmla="*/ 49 w 88"/>
                <a:gd name="T47" fmla="*/ 276 h 90"/>
                <a:gd name="T48" fmla="*/ 64 w 88"/>
                <a:gd name="T49" fmla="*/ 247 h 90"/>
                <a:gd name="T50" fmla="*/ 69 w 88"/>
                <a:gd name="T51" fmla="*/ 207 h 90"/>
                <a:gd name="T52" fmla="*/ 103 w 88"/>
                <a:gd name="T53" fmla="*/ 187 h 90"/>
                <a:gd name="T54" fmla="*/ 128 w 88"/>
                <a:gd name="T55" fmla="*/ 143 h 90"/>
                <a:gd name="T56" fmla="*/ 153 w 88"/>
                <a:gd name="T57" fmla="*/ 128 h 90"/>
                <a:gd name="T58" fmla="*/ 187 w 88"/>
                <a:gd name="T59" fmla="*/ 74 h 90"/>
                <a:gd name="T60" fmla="*/ 207 w 88"/>
                <a:gd name="T61" fmla="*/ 0 h 90"/>
                <a:gd name="T62" fmla="*/ 217 w 88"/>
                <a:gd name="T63" fmla="*/ 10 h 90"/>
                <a:gd name="T64" fmla="*/ 226 w 88"/>
                <a:gd name="T65" fmla="*/ 0 h 90"/>
                <a:gd name="T66" fmla="*/ 266 w 88"/>
                <a:gd name="T67" fmla="*/ 69 h 90"/>
                <a:gd name="T68" fmla="*/ 315 w 88"/>
                <a:gd name="T69" fmla="*/ 109 h 90"/>
                <a:gd name="T70" fmla="*/ 379 w 88"/>
                <a:gd name="T71" fmla="*/ 89 h 90"/>
                <a:gd name="T72" fmla="*/ 428 w 88"/>
                <a:gd name="T73" fmla="*/ 109 h 90"/>
                <a:gd name="T74" fmla="*/ 428 w 88"/>
                <a:gd name="T75" fmla="*/ 109 h 90"/>
                <a:gd name="T76" fmla="*/ 428 w 88"/>
                <a:gd name="T77" fmla="*/ 153 h 90"/>
                <a:gd name="T78" fmla="*/ 428 w 88"/>
                <a:gd name="T79" fmla="*/ 153 h 90"/>
                <a:gd name="T80" fmla="*/ 379 w 88"/>
                <a:gd name="T81" fmla="*/ 192 h 90"/>
                <a:gd name="T82" fmla="*/ 354 w 88"/>
                <a:gd name="T83" fmla="*/ 207 h 90"/>
                <a:gd name="T84" fmla="*/ 315 w 88"/>
                <a:gd name="T85" fmla="*/ 227 h 90"/>
                <a:gd name="T86" fmla="*/ 354 w 88"/>
                <a:gd name="T87" fmla="*/ 266 h 90"/>
                <a:gd name="T88" fmla="*/ 354 w 88"/>
                <a:gd name="T89" fmla="*/ 266 h 90"/>
                <a:gd name="T90" fmla="*/ 354 w 88"/>
                <a:gd name="T91" fmla="*/ 311 h 90"/>
                <a:gd name="T92" fmla="*/ 354 w 88"/>
                <a:gd name="T93" fmla="*/ 311 h 90"/>
                <a:gd name="T94" fmla="*/ 364 w 88"/>
                <a:gd name="T95" fmla="*/ 340 h 90"/>
                <a:gd name="T96" fmla="*/ 335 w 88"/>
                <a:gd name="T97" fmla="*/ 385 h 90"/>
                <a:gd name="T98" fmla="*/ 315 w 88"/>
                <a:gd name="T99" fmla="*/ 409 h 90"/>
                <a:gd name="T100" fmla="*/ 295 w 88"/>
                <a:gd name="T101" fmla="*/ 444 h 90"/>
                <a:gd name="T102" fmla="*/ 295 w 88"/>
                <a:gd name="T103" fmla="*/ 444 h 90"/>
                <a:gd name="T104" fmla="*/ 290 w 88"/>
                <a:gd name="T105" fmla="*/ 444 h 90"/>
                <a:gd name="T106" fmla="*/ 290 w 88"/>
                <a:gd name="T107" fmla="*/ 444 h 9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8"/>
                <a:gd name="T163" fmla="*/ 0 h 90"/>
                <a:gd name="T164" fmla="*/ 88 w 88"/>
                <a:gd name="T165" fmla="*/ 90 h 9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8" h="90">
                  <a:moveTo>
                    <a:pt x="59" y="90"/>
                  </a:moveTo>
                  <a:cubicBezTo>
                    <a:pt x="56" y="88"/>
                    <a:pt x="54" y="90"/>
                    <a:pt x="52" y="90"/>
                  </a:cubicBezTo>
                  <a:cubicBezTo>
                    <a:pt x="51" y="90"/>
                    <a:pt x="50" y="88"/>
                    <a:pt x="47" y="88"/>
                  </a:cubicBezTo>
                  <a:cubicBezTo>
                    <a:pt x="46" y="88"/>
                    <a:pt x="45" y="90"/>
                    <a:pt x="43" y="90"/>
                  </a:cubicBezTo>
                  <a:cubicBezTo>
                    <a:pt x="42" y="90"/>
                    <a:pt x="42" y="87"/>
                    <a:pt x="42" y="86"/>
                  </a:cubicBezTo>
                  <a:cubicBezTo>
                    <a:pt x="42" y="84"/>
                    <a:pt x="43" y="84"/>
                    <a:pt x="43" y="82"/>
                  </a:cubicBezTo>
                  <a:cubicBezTo>
                    <a:pt x="43" y="79"/>
                    <a:pt x="40" y="80"/>
                    <a:pt x="39" y="79"/>
                  </a:cubicBezTo>
                  <a:cubicBezTo>
                    <a:pt x="36" y="78"/>
                    <a:pt x="37" y="74"/>
                    <a:pt x="36" y="73"/>
                  </a:cubicBezTo>
                  <a:cubicBezTo>
                    <a:pt x="35" y="70"/>
                    <a:pt x="33" y="64"/>
                    <a:pt x="30" y="64"/>
                  </a:cubicBezTo>
                  <a:cubicBezTo>
                    <a:pt x="28" y="64"/>
                    <a:pt x="28" y="65"/>
                    <a:pt x="26" y="65"/>
                  </a:cubicBezTo>
                  <a:cubicBezTo>
                    <a:pt x="25" y="65"/>
                    <a:pt x="24" y="64"/>
                    <a:pt x="23" y="64"/>
                  </a:cubicBezTo>
                  <a:cubicBezTo>
                    <a:pt x="19" y="64"/>
                    <a:pt x="20" y="67"/>
                    <a:pt x="18" y="68"/>
                  </a:cubicBezTo>
                  <a:cubicBezTo>
                    <a:pt x="16" y="69"/>
                    <a:pt x="15" y="68"/>
                    <a:pt x="13" y="68"/>
                  </a:cubicBezTo>
                  <a:cubicBezTo>
                    <a:pt x="10" y="70"/>
                    <a:pt x="10" y="72"/>
                    <a:pt x="10" y="75"/>
                  </a:cubicBezTo>
                  <a:cubicBezTo>
                    <a:pt x="10" y="79"/>
                    <a:pt x="7" y="79"/>
                    <a:pt x="6" y="81"/>
                  </a:cubicBezTo>
                  <a:cubicBezTo>
                    <a:pt x="4" y="83"/>
                    <a:pt x="6" y="87"/>
                    <a:pt x="3" y="87"/>
                  </a:cubicBezTo>
                  <a:cubicBezTo>
                    <a:pt x="2" y="84"/>
                    <a:pt x="0" y="82"/>
                    <a:pt x="0" y="80"/>
                  </a:cubicBezTo>
                  <a:cubicBezTo>
                    <a:pt x="0" y="78"/>
                    <a:pt x="1" y="79"/>
                    <a:pt x="2" y="79"/>
                  </a:cubicBezTo>
                  <a:cubicBezTo>
                    <a:pt x="5" y="77"/>
                    <a:pt x="1" y="73"/>
                    <a:pt x="4" y="70"/>
                  </a:cubicBezTo>
                  <a:cubicBezTo>
                    <a:pt x="4" y="70"/>
                    <a:pt x="5" y="69"/>
                    <a:pt x="5" y="68"/>
                  </a:cubicBezTo>
                  <a:lnTo>
                    <a:pt x="10" y="61"/>
                  </a:lnTo>
                  <a:cubicBezTo>
                    <a:pt x="11" y="60"/>
                    <a:pt x="10" y="58"/>
                    <a:pt x="10" y="56"/>
                  </a:cubicBezTo>
                  <a:cubicBezTo>
                    <a:pt x="10" y="53"/>
                    <a:pt x="12" y="51"/>
                    <a:pt x="13" y="50"/>
                  </a:cubicBezTo>
                  <a:cubicBezTo>
                    <a:pt x="13" y="47"/>
                    <a:pt x="13" y="44"/>
                    <a:pt x="14" y="42"/>
                  </a:cubicBezTo>
                  <a:cubicBezTo>
                    <a:pt x="15" y="39"/>
                    <a:pt x="19" y="39"/>
                    <a:pt x="21" y="38"/>
                  </a:cubicBezTo>
                  <a:cubicBezTo>
                    <a:pt x="25" y="36"/>
                    <a:pt x="25" y="33"/>
                    <a:pt x="26" y="29"/>
                  </a:cubicBezTo>
                  <a:cubicBezTo>
                    <a:pt x="27" y="27"/>
                    <a:pt x="29" y="27"/>
                    <a:pt x="31" y="26"/>
                  </a:cubicBezTo>
                  <a:cubicBezTo>
                    <a:pt x="34" y="23"/>
                    <a:pt x="36" y="19"/>
                    <a:pt x="38" y="15"/>
                  </a:cubicBezTo>
                  <a:cubicBezTo>
                    <a:pt x="40" y="10"/>
                    <a:pt x="38" y="5"/>
                    <a:pt x="42" y="0"/>
                  </a:cubicBezTo>
                  <a:cubicBezTo>
                    <a:pt x="43" y="1"/>
                    <a:pt x="43" y="2"/>
                    <a:pt x="44" y="2"/>
                  </a:cubicBezTo>
                  <a:cubicBezTo>
                    <a:pt x="45" y="2"/>
                    <a:pt x="46" y="1"/>
                    <a:pt x="46" y="0"/>
                  </a:cubicBezTo>
                  <a:cubicBezTo>
                    <a:pt x="46" y="5"/>
                    <a:pt x="52" y="8"/>
                    <a:pt x="54" y="14"/>
                  </a:cubicBezTo>
                  <a:cubicBezTo>
                    <a:pt x="57" y="14"/>
                    <a:pt x="59" y="22"/>
                    <a:pt x="64" y="22"/>
                  </a:cubicBezTo>
                  <a:cubicBezTo>
                    <a:pt x="74" y="23"/>
                    <a:pt x="72" y="18"/>
                    <a:pt x="77" y="18"/>
                  </a:cubicBezTo>
                  <a:cubicBezTo>
                    <a:pt x="81" y="18"/>
                    <a:pt x="83" y="19"/>
                    <a:pt x="87" y="22"/>
                  </a:cubicBezTo>
                  <a:lnTo>
                    <a:pt x="87" y="31"/>
                  </a:lnTo>
                  <a:cubicBezTo>
                    <a:pt x="88" y="38"/>
                    <a:pt x="83" y="39"/>
                    <a:pt x="77" y="39"/>
                  </a:cubicBezTo>
                  <a:cubicBezTo>
                    <a:pt x="75" y="39"/>
                    <a:pt x="74" y="41"/>
                    <a:pt x="72" y="42"/>
                  </a:cubicBezTo>
                  <a:cubicBezTo>
                    <a:pt x="69" y="42"/>
                    <a:pt x="64" y="41"/>
                    <a:pt x="64" y="46"/>
                  </a:cubicBezTo>
                  <a:cubicBezTo>
                    <a:pt x="64" y="51"/>
                    <a:pt x="70" y="50"/>
                    <a:pt x="72" y="54"/>
                  </a:cubicBezTo>
                  <a:lnTo>
                    <a:pt x="72" y="63"/>
                  </a:lnTo>
                  <a:cubicBezTo>
                    <a:pt x="73" y="64"/>
                    <a:pt x="74" y="67"/>
                    <a:pt x="74" y="69"/>
                  </a:cubicBezTo>
                  <a:cubicBezTo>
                    <a:pt x="74" y="73"/>
                    <a:pt x="69" y="74"/>
                    <a:pt x="68" y="78"/>
                  </a:cubicBezTo>
                  <a:cubicBezTo>
                    <a:pt x="67" y="79"/>
                    <a:pt x="65" y="83"/>
                    <a:pt x="64" y="83"/>
                  </a:cubicBezTo>
                  <a:cubicBezTo>
                    <a:pt x="63" y="85"/>
                    <a:pt x="60" y="86"/>
                    <a:pt x="60" y="90"/>
                  </a:cubicBezTo>
                  <a:lnTo>
                    <a:pt x="59" y="9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gray">
            <a:xfrm>
              <a:off x="1428715" y="1376363"/>
              <a:ext cx="2095306" cy="3993900"/>
            </a:xfrm>
            <a:custGeom>
              <a:avLst/>
              <a:gdLst>
                <a:gd name="T0" fmla="*/ 222 w 302"/>
                <a:gd name="T1" fmla="*/ 2204 h 616"/>
                <a:gd name="T2" fmla="*/ 370 w 302"/>
                <a:gd name="T3" fmla="*/ 2145 h 616"/>
                <a:gd name="T4" fmla="*/ 394 w 302"/>
                <a:gd name="T5" fmla="*/ 2046 h 616"/>
                <a:gd name="T6" fmla="*/ 390 w 302"/>
                <a:gd name="T7" fmla="*/ 1888 h 616"/>
                <a:gd name="T8" fmla="*/ 483 w 302"/>
                <a:gd name="T9" fmla="*/ 1893 h 616"/>
                <a:gd name="T10" fmla="*/ 414 w 302"/>
                <a:gd name="T11" fmla="*/ 1804 h 616"/>
                <a:gd name="T12" fmla="*/ 325 w 302"/>
                <a:gd name="T13" fmla="*/ 1750 h 616"/>
                <a:gd name="T14" fmla="*/ 345 w 302"/>
                <a:gd name="T15" fmla="*/ 1632 h 616"/>
                <a:gd name="T16" fmla="*/ 370 w 302"/>
                <a:gd name="T17" fmla="*/ 1558 h 616"/>
                <a:gd name="T18" fmla="*/ 419 w 302"/>
                <a:gd name="T19" fmla="*/ 1474 h 616"/>
                <a:gd name="T20" fmla="*/ 217 w 302"/>
                <a:gd name="T21" fmla="*/ 1366 h 616"/>
                <a:gd name="T22" fmla="*/ 306 w 302"/>
                <a:gd name="T23" fmla="*/ 1297 h 616"/>
                <a:gd name="T24" fmla="*/ 350 w 302"/>
                <a:gd name="T25" fmla="*/ 1188 h 616"/>
                <a:gd name="T26" fmla="*/ 370 w 302"/>
                <a:gd name="T27" fmla="*/ 1065 h 616"/>
                <a:gd name="T28" fmla="*/ 325 w 302"/>
                <a:gd name="T29" fmla="*/ 883 h 616"/>
                <a:gd name="T30" fmla="*/ 335 w 302"/>
                <a:gd name="T31" fmla="*/ 818 h 616"/>
                <a:gd name="T32" fmla="*/ 286 w 302"/>
                <a:gd name="T33" fmla="*/ 705 h 616"/>
                <a:gd name="T34" fmla="*/ 202 w 302"/>
                <a:gd name="T35" fmla="*/ 577 h 616"/>
                <a:gd name="T36" fmla="*/ 143 w 302"/>
                <a:gd name="T37" fmla="*/ 473 h 616"/>
                <a:gd name="T38" fmla="*/ 133 w 302"/>
                <a:gd name="T39" fmla="*/ 340 h 616"/>
                <a:gd name="T40" fmla="*/ 84 w 302"/>
                <a:gd name="T41" fmla="*/ 296 h 616"/>
                <a:gd name="T42" fmla="*/ 49 w 302"/>
                <a:gd name="T43" fmla="*/ 261 h 616"/>
                <a:gd name="T44" fmla="*/ 0 w 302"/>
                <a:gd name="T45" fmla="*/ 158 h 616"/>
                <a:gd name="T46" fmla="*/ 705 w 302"/>
                <a:gd name="T47" fmla="*/ 0 h 616"/>
                <a:gd name="T48" fmla="*/ 745 w 302"/>
                <a:gd name="T49" fmla="*/ 528 h 616"/>
                <a:gd name="T50" fmla="*/ 784 w 302"/>
                <a:gd name="T51" fmla="*/ 606 h 616"/>
                <a:gd name="T52" fmla="*/ 833 w 302"/>
                <a:gd name="T53" fmla="*/ 661 h 616"/>
                <a:gd name="T54" fmla="*/ 897 w 302"/>
                <a:gd name="T55" fmla="*/ 774 h 616"/>
                <a:gd name="T56" fmla="*/ 986 w 302"/>
                <a:gd name="T57" fmla="*/ 818 h 616"/>
                <a:gd name="T58" fmla="*/ 1040 w 302"/>
                <a:gd name="T59" fmla="*/ 912 h 616"/>
                <a:gd name="T60" fmla="*/ 1183 w 302"/>
                <a:gd name="T61" fmla="*/ 1045 h 616"/>
                <a:gd name="T62" fmla="*/ 1277 w 302"/>
                <a:gd name="T63" fmla="*/ 1173 h 616"/>
                <a:gd name="T64" fmla="*/ 1440 w 302"/>
                <a:gd name="T65" fmla="*/ 1242 h 616"/>
                <a:gd name="T66" fmla="*/ 1474 w 302"/>
                <a:gd name="T67" fmla="*/ 1351 h 616"/>
                <a:gd name="T68" fmla="*/ 1469 w 302"/>
                <a:gd name="T69" fmla="*/ 1484 h 616"/>
                <a:gd name="T70" fmla="*/ 1361 w 302"/>
                <a:gd name="T71" fmla="*/ 1523 h 616"/>
                <a:gd name="T72" fmla="*/ 1223 w 302"/>
                <a:gd name="T73" fmla="*/ 1538 h 616"/>
                <a:gd name="T74" fmla="*/ 1104 w 302"/>
                <a:gd name="T75" fmla="*/ 1499 h 616"/>
                <a:gd name="T76" fmla="*/ 1075 w 302"/>
                <a:gd name="T77" fmla="*/ 1568 h 616"/>
                <a:gd name="T78" fmla="*/ 1208 w 302"/>
                <a:gd name="T79" fmla="*/ 1588 h 616"/>
                <a:gd name="T80" fmla="*/ 1178 w 302"/>
                <a:gd name="T81" fmla="*/ 1775 h 616"/>
                <a:gd name="T82" fmla="*/ 1075 w 302"/>
                <a:gd name="T83" fmla="*/ 1908 h 616"/>
                <a:gd name="T84" fmla="*/ 971 w 302"/>
                <a:gd name="T85" fmla="*/ 1854 h 616"/>
                <a:gd name="T86" fmla="*/ 937 w 302"/>
                <a:gd name="T87" fmla="*/ 1775 h 616"/>
                <a:gd name="T88" fmla="*/ 848 w 302"/>
                <a:gd name="T89" fmla="*/ 1785 h 616"/>
                <a:gd name="T90" fmla="*/ 912 w 302"/>
                <a:gd name="T91" fmla="*/ 2026 h 616"/>
                <a:gd name="T92" fmla="*/ 947 w 302"/>
                <a:gd name="T93" fmla="*/ 2174 h 616"/>
                <a:gd name="T94" fmla="*/ 1001 w 302"/>
                <a:gd name="T95" fmla="*/ 2312 h 616"/>
                <a:gd name="T96" fmla="*/ 1080 w 302"/>
                <a:gd name="T97" fmla="*/ 2357 h 616"/>
                <a:gd name="T98" fmla="*/ 1238 w 302"/>
                <a:gd name="T99" fmla="*/ 2574 h 616"/>
                <a:gd name="T100" fmla="*/ 1356 w 302"/>
                <a:gd name="T101" fmla="*/ 2652 h 616"/>
                <a:gd name="T102" fmla="*/ 1341 w 302"/>
                <a:gd name="T103" fmla="*/ 2721 h 616"/>
                <a:gd name="T104" fmla="*/ 1415 w 302"/>
                <a:gd name="T105" fmla="*/ 2988 h 616"/>
                <a:gd name="T106" fmla="*/ 1346 w 302"/>
                <a:gd name="T107" fmla="*/ 2983 h 616"/>
                <a:gd name="T108" fmla="*/ 1228 w 302"/>
                <a:gd name="T109" fmla="*/ 2919 h 616"/>
                <a:gd name="T110" fmla="*/ 276 w 302"/>
                <a:gd name="T111" fmla="*/ 2347 h 61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2"/>
                <a:gd name="T169" fmla="*/ 0 h 616"/>
                <a:gd name="T170" fmla="*/ 302 w 302"/>
                <a:gd name="T171" fmla="*/ 616 h 61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2" h="616">
                  <a:moveTo>
                    <a:pt x="56" y="476"/>
                  </a:moveTo>
                  <a:cubicBezTo>
                    <a:pt x="55" y="471"/>
                    <a:pt x="53" y="462"/>
                    <a:pt x="52" y="460"/>
                  </a:cubicBezTo>
                  <a:cubicBezTo>
                    <a:pt x="49" y="456"/>
                    <a:pt x="49" y="455"/>
                    <a:pt x="48" y="452"/>
                  </a:cubicBezTo>
                  <a:cubicBezTo>
                    <a:pt x="44" y="451"/>
                    <a:pt x="47" y="449"/>
                    <a:pt x="45" y="447"/>
                  </a:cubicBezTo>
                  <a:cubicBezTo>
                    <a:pt x="43" y="444"/>
                    <a:pt x="46" y="442"/>
                    <a:pt x="46" y="442"/>
                  </a:cubicBezTo>
                  <a:cubicBezTo>
                    <a:pt x="48" y="440"/>
                    <a:pt x="51" y="441"/>
                    <a:pt x="54" y="441"/>
                  </a:cubicBezTo>
                  <a:cubicBezTo>
                    <a:pt x="58" y="441"/>
                    <a:pt x="60" y="440"/>
                    <a:pt x="64" y="439"/>
                  </a:cubicBezTo>
                  <a:cubicBezTo>
                    <a:pt x="68" y="438"/>
                    <a:pt x="72" y="436"/>
                    <a:pt x="75" y="435"/>
                  </a:cubicBezTo>
                  <a:cubicBezTo>
                    <a:pt x="78" y="434"/>
                    <a:pt x="75" y="431"/>
                    <a:pt x="77" y="430"/>
                  </a:cubicBezTo>
                  <a:cubicBezTo>
                    <a:pt x="78" y="429"/>
                    <a:pt x="81" y="428"/>
                    <a:pt x="81" y="425"/>
                  </a:cubicBezTo>
                  <a:cubicBezTo>
                    <a:pt x="81" y="423"/>
                    <a:pt x="79" y="421"/>
                    <a:pt x="79" y="418"/>
                  </a:cubicBezTo>
                  <a:cubicBezTo>
                    <a:pt x="79" y="417"/>
                    <a:pt x="80" y="416"/>
                    <a:pt x="80" y="415"/>
                  </a:cubicBezTo>
                  <a:cubicBezTo>
                    <a:pt x="80" y="412"/>
                    <a:pt x="78" y="408"/>
                    <a:pt x="78" y="403"/>
                  </a:cubicBezTo>
                  <a:cubicBezTo>
                    <a:pt x="78" y="399"/>
                    <a:pt x="75" y="393"/>
                    <a:pt x="75" y="393"/>
                  </a:cubicBezTo>
                  <a:cubicBezTo>
                    <a:pt x="75" y="392"/>
                    <a:pt x="78" y="389"/>
                    <a:pt x="79" y="388"/>
                  </a:cubicBezTo>
                  <a:cubicBezTo>
                    <a:pt x="80" y="387"/>
                    <a:pt x="79" y="385"/>
                    <a:pt x="79" y="383"/>
                  </a:cubicBezTo>
                  <a:cubicBezTo>
                    <a:pt x="79" y="381"/>
                    <a:pt x="84" y="375"/>
                    <a:pt x="86" y="375"/>
                  </a:cubicBezTo>
                  <a:cubicBezTo>
                    <a:pt x="87" y="375"/>
                    <a:pt x="87" y="378"/>
                    <a:pt x="87" y="378"/>
                  </a:cubicBezTo>
                  <a:cubicBezTo>
                    <a:pt x="89" y="380"/>
                    <a:pt x="90" y="378"/>
                    <a:pt x="91" y="378"/>
                  </a:cubicBezTo>
                  <a:cubicBezTo>
                    <a:pt x="95" y="379"/>
                    <a:pt x="94" y="384"/>
                    <a:pt x="98" y="384"/>
                  </a:cubicBezTo>
                  <a:cubicBezTo>
                    <a:pt x="100" y="384"/>
                    <a:pt x="100" y="383"/>
                    <a:pt x="100" y="381"/>
                  </a:cubicBezTo>
                  <a:cubicBezTo>
                    <a:pt x="100" y="376"/>
                    <a:pt x="96" y="376"/>
                    <a:pt x="95" y="371"/>
                  </a:cubicBezTo>
                  <a:cubicBezTo>
                    <a:pt x="92" y="371"/>
                    <a:pt x="93" y="369"/>
                    <a:pt x="92" y="368"/>
                  </a:cubicBezTo>
                  <a:cubicBezTo>
                    <a:pt x="90" y="367"/>
                    <a:pt x="85" y="367"/>
                    <a:pt x="84" y="366"/>
                  </a:cubicBezTo>
                  <a:cubicBezTo>
                    <a:pt x="83" y="368"/>
                    <a:pt x="81" y="369"/>
                    <a:pt x="79" y="369"/>
                  </a:cubicBezTo>
                  <a:cubicBezTo>
                    <a:pt x="77" y="369"/>
                    <a:pt x="58" y="368"/>
                    <a:pt x="58" y="367"/>
                  </a:cubicBezTo>
                  <a:cubicBezTo>
                    <a:pt x="58" y="363"/>
                    <a:pt x="61" y="362"/>
                    <a:pt x="62" y="360"/>
                  </a:cubicBezTo>
                  <a:cubicBezTo>
                    <a:pt x="63" y="360"/>
                    <a:pt x="65" y="356"/>
                    <a:pt x="66" y="355"/>
                  </a:cubicBezTo>
                  <a:cubicBezTo>
                    <a:pt x="67" y="351"/>
                    <a:pt x="72" y="350"/>
                    <a:pt x="72" y="346"/>
                  </a:cubicBezTo>
                  <a:cubicBezTo>
                    <a:pt x="72" y="344"/>
                    <a:pt x="71" y="341"/>
                    <a:pt x="70" y="340"/>
                  </a:cubicBezTo>
                  <a:lnTo>
                    <a:pt x="70" y="331"/>
                  </a:lnTo>
                  <a:cubicBezTo>
                    <a:pt x="68" y="327"/>
                    <a:pt x="62" y="328"/>
                    <a:pt x="62" y="323"/>
                  </a:cubicBezTo>
                  <a:cubicBezTo>
                    <a:pt x="62" y="318"/>
                    <a:pt x="67" y="319"/>
                    <a:pt x="70" y="319"/>
                  </a:cubicBezTo>
                  <a:cubicBezTo>
                    <a:pt x="72" y="318"/>
                    <a:pt x="73" y="316"/>
                    <a:pt x="75" y="316"/>
                  </a:cubicBezTo>
                  <a:cubicBezTo>
                    <a:pt x="81" y="316"/>
                    <a:pt x="86" y="315"/>
                    <a:pt x="85" y="308"/>
                  </a:cubicBezTo>
                  <a:lnTo>
                    <a:pt x="85" y="299"/>
                  </a:lnTo>
                  <a:cubicBezTo>
                    <a:pt x="81" y="296"/>
                    <a:pt x="79" y="295"/>
                    <a:pt x="75" y="295"/>
                  </a:cubicBezTo>
                  <a:cubicBezTo>
                    <a:pt x="70" y="295"/>
                    <a:pt x="72" y="300"/>
                    <a:pt x="62" y="299"/>
                  </a:cubicBezTo>
                  <a:cubicBezTo>
                    <a:pt x="57" y="299"/>
                    <a:pt x="55" y="291"/>
                    <a:pt x="52" y="291"/>
                  </a:cubicBezTo>
                  <a:cubicBezTo>
                    <a:pt x="50" y="285"/>
                    <a:pt x="44" y="282"/>
                    <a:pt x="44" y="277"/>
                  </a:cubicBezTo>
                  <a:cubicBezTo>
                    <a:pt x="44" y="275"/>
                    <a:pt x="45" y="274"/>
                    <a:pt x="45" y="273"/>
                  </a:cubicBezTo>
                  <a:cubicBezTo>
                    <a:pt x="47" y="272"/>
                    <a:pt x="49" y="275"/>
                    <a:pt x="49" y="272"/>
                  </a:cubicBezTo>
                  <a:cubicBezTo>
                    <a:pt x="50" y="269"/>
                    <a:pt x="55" y="269"/>
                    <a:pt x="59" y="268"/>
                  </a:cubicBezTo>
                  <a:cubicBezTo>
                    <a:pt x="62" y="268"/>
                    <a:pt x="62" y="266"/>
                    <a:pt x="62" y="263"/>
                  </a:cubicBezTo>
                  <a:cubicBezTo>
                    <a:pt x="62" y="261"/>
                    <a:pt x="60" y="260"/>
                    <a:pt x="60" y="257"/>
                  </a:cubicBezTo>
                  <a:cubicBezTo>
                    <a:pt x="60" y="252"/>
                    <a:pt x="64" y="253"/>
                    <a:pt x="65" y="251"/>
                  </a:cubicBezTo>
                  <a:cubicBezTo>
                    <a:pt x="66" y="248"/>
                    <a:pt x="65" y="246"/>
                    <a:pt x="66" y="243"/>
                  </a:cubicBezTo>
                  <a:cubicBezTo>
                    <a:pt x="66" y="242"/>
                    <a:pt x="70" y="242"/>
                    <a:pt x="71" y="241"/>
                  </a:cubicBezTo>
                  <a:cubicBezTo>
                    <a:pt x="74" y="237"/>
                    <a:pt x="74" y="231"/>
                    <a:pt x="74" y="223"/>
                  </a:cubicBezTo>
                  <a:lnTo>
                    <a:pt x="75" y="216"/>
                  </a:lnTo>
                  <a:cubicBezTo>
                    <a:pt x="77" y="211"/>
                    <a:pt x="73" y="213"/>
                    <a:pt x="72" y="208"/>
                  </a:cubicBezTo>
                  <a:cubicBezTo>
                    <a:pt x="72" y="206"/>
                    <a:pt x="74" y="204"/>
                    <a:pt x="74" y="201"/>
                  </a:cubicBezTo>
                  <a:cubicBezTo>
                    <a:pt x="74" y="193"/>
                    <a:pt x="68" y="184"/>
                    <a:pt x="66" y="179"/>
                  </a:cubicBezTo>
                  <a:lnTo>
                    <a:pt x="66" y="174"/>
                  </a:lnTo>
                  <a:cubicBezTo>
                    <a:pt x="69" y="174"/>
                    <a:pt x="70" y="172"/>
                    <a:pt x="70" y="169"/>
                  </a:cubicBezTo>
                  <a:cubicBezTo>
                    <a:pt x="70" y="168"/>
                    <a:pt x="68" y="166"/>
                    <a:pt x="68" y="166"/>
                  </a:cubicBezTo>
                  <a:cubicBezTo>
                    <a:pt x="66" y="163"/>
                    <a:pt x="67" y="161"/>
                    <a:pt x="67" y="161"/>
                  </a:cubicBezTo>
                  <a:cubicBezTo>
                    <a:pt x="68" y="153"/>
                    <a:pt x="64" y="166"/>
                    <a:pt x="62" y="158"/>
                  </a:cubicBezTo>
                  <a:cubicBezTo>
                    <a:pt x="60" y="156"/>
                    <a:pt x="59" y="154"/>
                    <a:pt x="59" y="152"/>
                  </a:cubicBezTo>
                  <a:cubicBezTo>
                    <a:pt x="59" y="150"/>
                    <a:pt x="59" y="144"/>
                    <a:pt x="58" y="143"/>
                  </a:cubicBezTo>
                  <a:cubicBezTo>
                    <a:pt x="57" y="140"/>
                    <a:pt x="54" y="139"/>
                    <a:pt x="52" y="138"/>
                  </a:cubicBezTo>
                  <a:cubicBezTo>
                    <a:pt x="52" y="138"/>
                    <a:pt x="51" y="139"/>
                    <a:pt x="50" y="139"/>
                  </a:cubicBezTo>
                  <a:cubicBezTo>
                    <a:pt x="45" y="139"/>
                    <a:pt x="43" y="127"/>
                    <a:pt x="43" y="124"/>
                  </a:cubicBezTo>
                  <a:cubicBezTo>
                    <a:pt x="42" y="121"/>
                    <a:pt x="42" y="118"/>
                    <a:pt x="41" y="117"/>
                  </a:cubicBezTo>
                  <a:cubicBezTo>
                    <a:pt x="39" y="117"/>
                    <a:pt x="38" y="118"/>
                    <a:pt x="37" y="117"/>
                  </a:cubicBezTo>
                  <a:cubicBezTo>
                    <a:pt x="35" y="117"/>
                    <a:pt x="35" y="116"/>
                    <a:pt x="34" y="115"/>
                  </a:cubicBezTo>
                  <a:cubicBezTo>
                    <a:pt x="33" y="112"/>
                    <a:pt x="34" y="108"/>
                    <a:pt x="33" y="105"/>
                  </a:cubicBezTo>
                  <a:cubicBezTo>
                    <a:pt x="32" y="101"/>
                    <a:pt x="30" y="100"/>
                    <a:pt x="29" y="96"/>
                  </a:cubicBezTo>
                  <a:cubicBezTo>
                    <a:pt x="30" y="96"/>
                    <a:pt x="32" y="95"/>
                    <a:pt x="32" y="93"/>
                  </a:cubicBezTo>
                  <a:cubicBezTo>
                    <a:pt x="32" y="92"/>
                    <a:pt x="30" y="91"/>
                    <a:pt x="30" y="90"/>
                  </a:cubicBezTo>
                  <a:cubicBezTo>
                    <a:pt x="34" y="88"/>
                    <a:pt x="34" y="83"/>
                    <a:pt x="35" y="78"/>
                  </a:cubicBezTo>
                  <a:cubicBezTo>
                    <a:pt x="36" y="72"/>
                    <a:pt x="29" y="76"/>
                    <a:pt x="27" y="69"/>
                  </a:cubicBezTo>
                  <a:cubicBezTo>
                    <a:pt x="27" y="67"/>
                    <a:pt x="25" y="72"/>
                    <a:pt x="23" y="72"/>
                  </a:cubicBezTo>
                  <a:cubicBezTo>
                    <a:pt x="21" y="72"/>
                    <a:pt x="21" y="68"/>
                    <a:pt x="21" y="67"/>
                  </a:cubicBezTo>
                  <a:cubicBezTo>
                    <a:pt x="19" y="64"/>
                    <a:pt x="13" y="68"/>
                    <a:pt x="13" y="63"/>
                  </a:cubicBezTo>
                  <a:cubicBezTo>
                    <a:pt x="13" y="61"/>
                    <a:pt x="17" y="62"/>
                    <a:pt x="17" y="60"/>
                  </a:cubicBezTo>
                  <a:cubicBezTo>
                    <a:pt x="17" y="58"/>
                    <a:pt x="15" y="57"/>
                    <a:pt x="14" y="57"/>
                  </a:cubicBezTo>
                  <a:cubicBezTo>
                    <a:pt x="12" y="57"/>
                    <a:pt x="11" y="59"/>
                    <a:pt x="10" y="60"/>
                  </a:cubicBezTo>
                  <a:cubicBezTo>
                    <a:pt x="5" y="61"/>
                    <a:pt x="8" y="55"/>
                    <a:pt x="8" y="55"/>
                  </a:cubicBezTo>
                  <a:cubicBezTo>
                    <a:pt x="9" y="55"/>
                    <a:pt x="10" y="54"/>
                    <a:pt x="10" y="53"/>
                  </a:cubicBezTo>
                  <a:cubicBezTo>
                    <a:pt x="10" y="50"/>
                    <a:pt x="5" y="50"/>
                    <a:pt x="5" y="47"/>
                  </a:cubicBezTo>
                  <a:cubicBezTo>
                    <a:pt x="5" y="45"/>
                    <a:pt x="8" y="44"/>
                    <a:pt x="7" y="43"/>
                  </a:cubicBezTo>
                  <a:cubicBezTo>
                    <a:pt x="3" y="40"/>
                    <a:pt x="5" y="38"/>
                    <a:pt x="5" y="36"/>
                  </a:cubicBezTo>
                  <a:cubicBezTo>
                    <a:pt x="5" y="34"/>
                    <a:pt x="1" y="33"/>
                    <a:pt x="0" y="32"/>
                  </a:cubicBezTo>
                  <a:lnTo>
                    <a:pt x="29" y="0"/>
                  </a:lnTo>
                  <a:lnTo>
                    <a:pt x="143" y="0"/>
                  </a:lnTo>
                  <a:cubicBezTo>
                    <a:pt x="147" y="1"/>
                    <a:pt x="145" y="8"/>
                    <a:pt x="145" y="8"/>
                  </a:cubicBezTo>
                  <a:lnTo>
                    <a:pt x="152" y="14"/>
                  </a:lnTo>
                  <a:lnTo>
                    <a:pt x="151" y="107"/>
                  </a:lnTo>
                  <a:cubicBezTo>
                    <a:pt x="153" y="109"/>
                    <a:pt x="155" y="110"/>
                    <a:pt x="157" y="110"/>
                  </a:cubicBezTo>
                  <a:cubicBezTo>
                    <a:pt x="159" y="110"/>
                    <a:pt x="159" y="110"/>
                    <a:pt x="159" y="113"/>
                  </a:cubicBezTo>
                  <a:cubicBezTo>
                    <a:pt x="159" y="116"/>
                    <a:pt x="159" y="117"/>
                    <a:pt x="159" y="123"/>
                  </a:cubicBezTo>
                  <a:cubicBezTo>
                    <a:pt x="159" y="123"/>
                    <a:pt x="158" y="125"/>
                    <a:pt x="158" y="126"/>
                  </a:cubicBezTo>
                  <a:cubicBezTo>
                    <a:pt x="158" y="129"/>
                    <a:pt x="161" y="130"/>
                    <a:pt x="163" y="130"/>
                  </a:cubicBezTo>
                  <a:cubicBezTo>
                    <a:pt x="164" y="130"/>
                    <a:pt x="164" y="129"/>
                    <a:pt x="166" y="129"/>
                  </a:cubicBezTo>
                  <a:cubicBezTo>
                    <a:pt x="168" y="129"/>
                    <a:pt x="168" y="132"/>
                    <a:pt x="169" y="134"/>
                  </a:cubicBezTo>
                  <a:cubicBezTo>
                    <a:pt x="170" y="135"/>
                    <a:pt x="173" y="138"/>
                    <a:pt x="175" y="138"/>
                  </a:cubicBezTo>
                  <a:cubicBezTo>
                    <a:pt x="177" y="138"/>
                    <a:pt x="179" y="142"/>
                    <a:pt x="179" y="144"/>
                  </a:cubicBezTo>
                  <a:cubicBezTo>
                    <a:pt x="179" y="148"/>
                    <a:pt x="181" y="148"/>
                    <a:pt x="182" y="150"/>
                  </a:cubicBezTo>
                  <a:cubicBezTo>
                    <a:pt x="182" y="153"/>
                    <a:pt x="181" y="155"/>
                    <a:pt x="182" y="157"/>
                  </a:cubicBezTo>
                  <a:cubicBezTo>
                    <a:pt x="182" y="157"/>
                    <a:pt x="188" y="162"/>
                    <a:pt x="188" y="163"/>
                  </a:cubicBezTo>
                  <a:cubicBezTo>
                    <a:pt x="189" y="167"/>
                    <a:pt x="188" y="167"/>
                    <a:pt x="188" y="169"/>
                  </a:cubicBezTo>
                  <a:cubicBezTo>
                    <a:pt x="188" y="172"/>
                    <a:pt x="189" y="175"/>
                    <a:pt x="194" y="174"/>
                  </a:cubicBezTo>
                  <a:cubicBezTo>
                    <a:pt x="199" y="174"/>
                    <a:pt x="200" y="171"/>
                    <a:pt x="200" y="166"/>
                  </a:cubicBezTo>
                  <a:cubicBezTo>
                    <a:pt x="200" y="166"/>
                    <a:pt x="200" y="165"/>
                    <a:pt x="201" y="164"/>
                  </a:cubicBezTo>
                  <a:cubicBezTo>
                    <a:pt x="201" y="164"/>
                    <a:pt x="201" y="164"/>
                    <a:pt x="202" y="164"/>
                  </a:cubicBezTo>
                  <a:cubicBezTo>
                    <a:pt x="206" y="164"/>
                    <a:pt x="204" y="169"/>
                    <a:pt x="205" y="172"/>
                  </a:cubicBezTo>
                  <a:cubicBezTo>
                    <a:pt x="206" y="176"/>
                    <a:pt x="209" y="183"/>
                    <a:pt x="211" y="185"/>
                  </a:cubicBezTo>
                  <a:cubicBezTo>
                    <a:pt x="215" y="188"/>
                    <a:pt x="216" y="192"/>
                    <a:pt x="218" y="195"/>
                  </a:cubicBezTo>
                  <a:cubicBezTo>
                    <a:pt x="220" y="199"/>
                    <a:pt x="216" y="205"/>
                    <a:pt x="223" y="205"/>
                  </a:cubicBezTo>
                  <a:cubicBezTo>
                    <a:pt x="226" y="205"/>
                    <a:pt x="230" y="205"/>
                    <a:pt x="232" y="205"/>
                  </a:cubicBezTo>
                  <a:cubicBezTo>
                    <a:pt x="237" y="205"/>
                    <a:pt x="237" y="210"/>
                    <a:pt x="240" y="212"/>
                  </a:cubicBezTo>
                  <a:cubicBezTo>
                    <a:pt x="241" y="212"/>
                    <a:pt x="244" y="215"/>
                    <a:pt x="244" y="219"/>
                  </a:cubicBezTo>
                  <a:cubicBezTo>
                    <a:pt x="244" y="223"/>
                    <a:pt x="250" y="222"/>
                    <a:pt x="251" y="225"/>
                  </a:cubicBezTo>
                  <a:cubicBezTo>
                    <a:pt x="252" y="227"/>
                    <a:pt x="252" y="230"/>
                    <a:pt x="253" y="232"/>
                  </a:cubicBezTo>
                  <a:cubicBezTo>
                    <a:pt x="253" y="234"/>
                    <a:pt x="258" y="236"/>
                    <a:pt x="259" y="238"/>
                  </a:cubicBezTo>
                  <a:cubicBezTo>
                    <a:pt x="262" y="242"/>
                    <a:pt x="259" y="254"/>
                    <a:pt x="267" y="252"/>
                  </a:cubicBezTo>
                  <a:cubicBezTo>
                    <a:pt x="274" y="251"/>
                    <a:pt x="278" y="247"/>
                    <a:pt x="285" y="247"/>
                  </a:cubicBezTo>
                  <a:cubicBezTo>
                    <a:pt x="289" y="246"/>
                    <a:pt x="290" y="250"/>
                    <a:pt x="292" y="252"/>
                  </a:cubicBezTo>
                  <a:lnTo>
                    <a:pt x="292" y="260"/>
                  </a:lnTo>
                  <a:cubicBezTo>
                    <a:pt x="293" y="263"/>
                    <a:pt x="293" y="266"/>
                    <a:pt x="294" y="268"/>
                  </a:cubicBezTo>
                  <a:cubicBezTo>
                    <a:pt x="296" y="270"/>
                    <a:pt x="298" y="271"/>
                    <a:pt x="299" y="274"/>
                  </a:cubicBezTo>
                  <a:cubicBezTo>
                    <a:pt x="300" y="277"/>
                    <a:pt x="299" y="279"/>
                    <a:pt x="299" y="282"/>
                  </a:cubicBezTo>
                  <a:cubicBezTo>
                    <a:pt x="299" y="289"/>
                    <a:pt x="302" y="294"/>
                    <a:pt x="302" y="300"/>
                  </a:cubicBezTo>
                  <a:cubicBezTo>
                    <a:pt x="302" y="301"/>
                    <a:pt x="302" y="302"/>
                    <a:pt x="300" y="302"/>
                  </a:cubicBezTo>
                  <a:cubicBezTo>
                    <a:pt x="299" y="302"/>
                    <a:pt x="298" y="301"/>
                    <a:pt x="298" y="301"/>
                  </a:cubicBezTo>
                  <a:cubicBezTo>
                    <a:pt x="295" y="302"/>
                    <a:pt x="295" y="307"/>
                    <a:pt x="291" y="307"/>
                  </a:cubicBezTo>
                  <a:cubicBezTo>
                    <a:pt x="290" y="307"/>
                    <a:pt x="290" y="306"/>
                    <a:pt x="289" y="306"/>
                  </a:cubicBezTo>
                  <a:cubicBezTo>
                    <a:pt x="286" y="306"/>
                    <a:pt x="286" y="309"/>
                    <a:pt x="285" y="310"/>
                  </a:cubicBezTo>
                  <a:cubicBezTo>
                    <a:pt x="282" y="311"/>
                    <a:pt x="279" y="308"/>
                    <a:pt x="276" y="309"/>
                  </a:cubicBezTo>
                  <a:cubicBezTo>
                    <a:pt x="271" y="311"/>
                    <a:pt x="270" y="318"/>
                    <a:pt x="263" y="318"/>
                  </a:cubicBezTo>
                  <a:cubicBezTo>
                    <a:pt x="261" y="318"/>
                    <a:pt x="261" y="316"/>
                    <a:pt x="259" y="316"/>
                  </a:cubicBezTo>
                  <a:cubicBezTo>
                    <a:pt x="257" y="316"/>
                    <a:pt x="255" y="318"/>
                    <a:pt x="253" y="318"/>
                  </a:cubicBezTo>
                  <a:cubicBezTo>
                    <a:pt x="251" y="318"/>
                    <a:pt x="248" y="313"/>
                    <a:pt x="248" y="312"/>
                  </a:cubicBezTo>
                  <a:cubicBezTo>
                    <a:pt x="246" y="308"/>
                    <a:pt x="245" y="304"/>
                    <a:pt x="241" y="304"/>
                  </a:cubicBezTo>
                  <a:cubicBezTo>
                    <a:pt x="240" y="304"/>
                    <a:pt x="239" y="305"/>
                    <a:pt x="238" y="305"/>
                  </a:cubicBezTo>
                  <a:cubicBezTo>
                    <a:pt x="235" y="305"/>
                    <a:pt x="234" y="301"/>
                    <a:pt x="231" y="301"/>
                  </a:cubicBezTo>
                  <a:cubicBezTo>
                    <a:pt x="227" y="301"/>
                    <a:pt x="226" y="304"/>
                    <a:pt x="224" y="304"/>
                  </a:cubicBezTo>
                  <a:cubicBezTo>
                    <a:pt x="222" y="304"/>
                    <a:pt x="220" y="303"/>
                    <a:pt x="219" y="304"/>
                  </a:cubicBezTo>
                  <a:cubicBezTo>
                    <a:pt x="217" y="305"/>
                    <a:pt x="219" y="307"/>
                    <a:pt x="218" y="309"/>
                  </a:cubicBezTo>
                  <a:cubicBezTo>
                    <a:pt x="217" y="312"/>
                    <a:pt x="214" y="313"/>
                    <a:pt x="214" y="316"/>
                  </a:cubicBezTo>
                  <a:cubicBezTo>
                    <a:pt x="214" y="318"/>
                    <a:pt x="217" y="318"/>
                    <a:pt x="218" y="318"/>
                  </a:cubicBezTo>
                  <a:cubicBezTo>
                    <a:pt x="221" y="318"/>
                    <a:pt x="232" y="320"/>
                    <a:pt x="236" y="322"/>
                  </a:cubicBezTo>
                  <a:lnTo>
                    <a:pt x="245" y="322"/>
                  </a:lnTo>
                  <a:cubicBezTo>
                    <a:pt x="252" y="320"/>
                    <a:pt x="248" y="329"/>
                    <a:pt x="252" y="335"/>
                  </a:cubicBezTo>
                  <a:cubicBezTo>
                    <a:pt x="254" y="338"/>
                    <a:pt x="252" y="342"/>
                    <a:pt x="251" y="344"/>
                  </a:cubicBezTo>
                  <a:cubicBezTo>
                    <a:pt x="249" y="347"/>
                    <a:pt x="252" y="347"/>
                    <a:pt x="248" y="350"/>
                  </a:cubicBezTo>
                  <a:cubicBezTo>
                    <a:pt x="243" y="354"/>
                    <a:pt x="242" y="357"/>
                    <a:pt x="239" y="360"/>
                  </a:cubicBezTo>
                  <a:cubicBezTo>
                    <a:pt x="236" y="361"/>
                    <a:pt x="233" y="359"/>
                    <a:pt x="232" y="362"/>
                  </a:cubicBezTo>
                  <a:cubicBezTo>
                    <a:pt x="230" y="363"/>
                    <a:pt x="225" y="367"/>
                    <a:pt x="225" y="372"/>
                  </a:cubicBezTo>
                  <a:cubicBezTo>
                    <a:pt x="225" y="374"/>
                    <a:pt x="225" y="377"/>
                    <a:pt x="225" y="380"/>
                  </a:cubicBezTo>
                  <a:cubicBezTo>
                    <a:pt x="225" y="385"/>
                    <a:pt x="222" y="387"/>
                    <a:pt x="218" y="387"/>
                  </a:cubicBezTo>
                  <a:cubicBezTo>
                    <a:pt x="215" y="387"/>
                    <a:pt x="212" y="384"/>
                    <a:pt x="212" y="381"/>
                  </a:cubicBezTo>
                  <a:cubicBezTo>
                    <a:pt x="212" y="379"/>
                    <a:pt x="213" y="378"/>
                    <a:pt x="213" y="377"/>
                  </a:cubicBezTo>
                  <a:cubicBezTo>
                    <a:pt x="213" y="374"/>
                    <a:pt x="210" y="374"/>
                    <a:pt x="209" y="374"/>
                  </a:cubicBezTo>
                  <a:cubicBezTo>
                    <a:pt x="204" y="374"/>
                    <a:pt x="202" y="376"/>
                    <a:pt x="197" y="376"/>
                  </a:cubicBezTo>
                  <a:cubicBezTo>
                    <a:pt x="194" y="376"/>
                    <a:pt x="190" y="375"/>
                    <a:pt x="190" y="372"/>
                  </a:cubicBezTo>
                  <a:cubicBezTo>
                    <a:pt x="190" y="366"/>
                    <a:pt x="191" y="369"/>
                    <a:pt x="195" y="366"/>
                  </a:cubicBezTo>
                  <a:cubicBezTo>
                    <a:pt x="202" y="360"/>
                    <a:pt x="193" y="364"/>
                    <a:pt x="193" y="362"/>
                  </a:cubicBezTo>
                  <a:cubicBezTo>
                    <a:pt x="193" y="360"/>
                    <a:pt x="192" y="361"/>
                    <a:pt x="190" y="360"/>
                  </a:cubicBezTo>
                  <a:cubicBezTo>
                    <a:pt x="189" y="360"/>
                    <a:pt x="188" y="360"/>
                    <a:pt x="188" y="360"/>
                  </a:cubicBezTo>
                  <a:cubicBezTo>
                    <a:pt x="186" y="358"/>
                    <a:pt x="187" y="355"/>
                    <a:pt x="185" y="355"/>
                  </a:cubicBezTo>
                  <a:cubicBezTo>
                    <a:pt x="183" y="355"/>
                    <a:pt x="180" y="359"/>
                    <a:pt x="179" y="360"/>
                  </a:cubicBezTo>
                  <a:cubicBezTo>
                    <a:pt x="176" y="362"/>
                    <a:pt x="174" y="360"/>
                    <a:pt x="172" y="362"/>
                  </a:cubicBezTo>
                  <a:cubicBezTo>
                    <a:pt x="167" y="366"/>
                    <a:pt x="165" y="373"/>
                    <a:pt x="165" y="383"/>
                  </a:cubicBezTo>
                  <a:cubicBezTo>
                    <a:pt x="165" y="393"/>
                    <a:pt x="170" y="395"/>
                    <a:pt x="173" y="395"/>
                  </a:cubicBezTo>
                  <a:cubicBezTo>
                    <a:pt x="184" y="394"/>
                    <a:pt x="176" y="406"/>
                    <a:pt x="179" y="409"/>
                  </a:cubicBezTo>
                  <a:cubicBezTo>
                    <a:pt x="180" y="410"/>
                    <a:pt x="184" y="411"/>
                    <a:pt x="185" y="411"/>
                  </a:cubicBezTo>
                  <a:cubicBezTo>
                    <a:pt x="188" y="413"/>
                    <a:pt x="189" y="416"/>
                    <a:pt x="189" y="421"/>
                  </a:cubicBezTo>
                  <a:cubicBezTo>
                    <a:pt x="189" y="424"/>
                    <a:pt x="188" y="424"/>
                    <a:pt x="188" y="426"/>
                  </a:cubicBezTo>
                  <a:cubicBezTo>
                    <a:pt x="188" y="428"/>
                    <a:pt x="189" y="428"/>
                    <a:pt x="190" y="430"/>
                  </a:cubicBezTo>
                  <a:cubicBezTo>
                    <a:pt x="190" y="431"/>
                    <a:pt x="190" y="438"/>
                    <a:pt x="192" y="441"/>
                  </a:cubicBezTo>
                  <a:cubicBezTo>
                    <a:pt x="193" y="442"/>
                    <a:pt x="195" y="443"/>
                    <a:pt x="195" y="445"/>
                  </a:cubicBezTo>
                  <a:cubicBezTo>
                    <a:pt x="195" y="449"/>
                    <a:pt x="193" y="450"/>
                    <a:pt x="191" y="451"/>
                  </a:cubicBezTo>
                  <a:cubicBezTo>
                    <a:pt x="189" y="453"/>
                    <a:pt x="185" y="464"/>
                    <a:pt x="188" y="463"/>
                  </a:cubicBezTo>
                  <a:cubicBezTo>
                    <a:pt x="195" y="463"/>
                    <a:pt x="199" y="464"/>
                    <a:pt x="203" y="469"/>
                  </a:cubicBezTo>
                  <a:cubicBezTo>
                    <a:pt x="204" y="470"/>
                    <a:pt x="204" y="472"/>
                    <a:pt x="205" y="472"/>
                  </a:cubicBezTo>
                  <a:cubicBezTo>
                    <a:pt x="207" y="473"/>
                    <a:pt x="211" y="472"/>
                    <a:pt x="213" y="474"/>
                  </a:cubicBezTo>
                  <a:cubicBezTo>
                    <a:pt x="213" y="475"/>
                    <a:pt x="214" y="480"/>
                    <a:pt x="215" y="480"/>
                  </a:cubicBezTo>
                  <a:cubicBezTo>
                    <a:pt x="217" y="480"/>
                    <a:pt x="218" y="478"/>
                    <a:pt x="219" y="478"/>
                  </a:cubicBezTo>
                  <a:cubicBezTo>
                    <a:pt x="222" y="478"/>
                    <a:pt x="221" y="481"/>
                    <a:pt x="221" y="483"/>
                  </a:cubicBezTo>
                  <a:cubicBezTo>
                    <a:pt x="221" y="490"/>
                    <a:pt x="231" y="494"/>
                    <a:pt x="234" y="499"/>
                  </a:cubicBezTo>
                  <a:cubicBezTo>
                    <a:pt x="237" y="505"/>
                    <a:pt x="234" y="517"/>
                    <a:pt x="242" y="517"/>
                  </a:cubicBezTo>
                  <a:cubicBezTo>
                    <a:pt x="245" y="517"/>
                    <a:pt x="246" y="523"/>
                    <a:pt x="251" y="522"/>
                  </a:cubicBezTo>
                  <a:cubicBezTo>
                    <a:pt x="258" y="526"/>
                    <a:pt x="262" y="528"/>
                    <a:pt x="267" y="533"/>
                  </a:cubicBezTo>
                  <a:cubicBezTo>
                    <a:pt x="272" y="536"/>
                    <a:pt x="274" y="533"/>
                    <a:pt x="278" y="536"/>
                  </a:cubicBezTo>
                  <a:cubicBezTo>
                    <a:pt x="277" y="538"/>
                    <a:pt x="275" y="537"/>
                    <a:pt x="275" y="538"/>
                  </a:cubicBezTo>
                  <a:lnTo>
                    <a:pt x="273" y="544"/>
                  </a:lnTo>
                  <a:cubicBezTo>
                    <a:pt x="273" y="546"/>
                    <a:pt x="269" y="546"/>
                    <a:pt x="269" y="549"/>
                  </a:cubicBezTo>
                  <a:cubicBezTo>
                    <a:pt x="269" y="551"/>
                    <a:pt x="271" y="551"/>
                    <a:pt x="272" y="552"/>
                  </a:cubicBezTo>
                  <a:cubicBezTo>
                    <a:pt x="274" y="558"/>
                    <a:pt x="278" y="560"/>
                    <a:pt x="281" y="565"/>
                  </a:cubicBezTo>
                  <a:cubicBezTo>
                    <a:pt x="284" y="570"/>
                    <a:pt x="292" y="576"/>
                    <a:pt x="292" y="581"/>
                  </a:cubicBezTo>
                  <a:cubicBezTo>
                    <a:pt x="292" y="585"/>
                    <a:pt x="292" y="587"/>
                    <a:pt x="291" y="590"/>
                  </a:cubicBezTo>
                  <a:cubicBezTo>
                    <a:pt x="289" y="595"/>
                    <a:pt x="288" y="598"/>
                    <a:pt x="287" y="606"/>
                  </a:cubicBezTo>
                  <a:cubicBezTo>
                    <a:pt x="287" y="609"/>
                    <a:pt x="288" y="616"/>
                    <a:pt x="285" y="614"/>
                  </a:cubicBezTo>
                  <a:cubicBezTo>
                    <a:pt x="279" y="614"/>
                    <a:pt x="277" y="615"/>
                    <a:pt x="274" y="615"/>
                  </a:cubicBezTo>
                  <a:lnTo>
                    <a:pt x="273" y="605"/>
                  </a:lnTo>
                  <a:cubicBezTo>
                    <a:pt x="270" y="604"/>
                    <a:pt x="268" y="601"/>
                    <a:pt x="265" y="599"/>
                  </a:cubicBezTo>
                  <a:cubicBezTo>
                    <a:pt x="260" y="596"/>
                    <a:pt x="253" y="595"/>
                    <a:pt x="249" y="592"/>
                  </a:cubicBezTo>
                  <a:lnTo>
                    <a:pt x="104" y="505"/>
                  </a:lnTo>
                  <a:lnTo>
                    <a:pt x="56" y="47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gray">
            <a:xfrm>
              <a:off x="2816204" y="4319514"/>
              <a:ext cx="229372" cy="135453"/>
            </a:xfrm>
            <a:custGeom>
              <a:avLst/>
              <a:gdLst>
                <a:gd name="T0" fmla="*/ 0 w 33"/>
                <a:gd name="T1" fmla="*/ 59 h 21"/>
                <a:gd name="T2" fmla="*/ 49 w 33"/>
                <a:gd name="T3" fmla="*/ 10 h 21"/>
                <a:gd name="T4" fmla="*/ 69 w 33"/>
                <a:gd name="T5" fmla="*/ 10 h 21"/>
                <a:gd name="T6" fmla="*/ 104 w 33"/>
                <a:gd name="T7" fmla="*/ 0 h 21"/>
                <a:gd name="T8" fmla="*/ 153 w 33"/>
                <a:gd name="T9" fmla="*/ 25 h 21"/>
                <a:gd name="T10" fmla="*/ 163 w 33"/>
                <a:gd name="T11" fmla="*/ 34 h 21"/>
                <a:gd name="T12" fmla="*/ 148 w 33"/>
                <a:gd name="T13" fmla="*/ 64 h 21"/>
                <a:gd name="T14" fmla="*/ 109 w 33"/>
                <a:gd name="T15" fmla="*/ 59 h 21"/>
                <a:gd name="T16" fmla="*/ 89 w 33"/>
                <a:gd name="T17" fmla="*/ 88 h 21"/>
                <a:gd name="T18" fmla="*/ 89 w 33"/>
                <a:gd name="T19" fmla="*/ 93 h 21"/>
                <a:gd name="T20" fmla="*/ 64 w 33"/>
                <a:gd name="T21" fmla="*/ 98 h 2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21"/>
                <a:gd name="T35" fmla="*/ 33 w 33"/>
                <a:gd name="T36" fmla="*/ 21 h 2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21">
                  <a:moveTo>
                    <a:pt x="0" y="12"/>
                  </a:moveTo>
                  <a:cubicBezTo>
                    <a:pt x="2" y="10"/>
                    <a:pt x="8" y="2"/>
                    <a:pt x="10" y="2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6" y="2"/>
                    <a:pt x="18" y="0"/>
                    <a:pt x="21" y="0"/>
                  </a:cubicBezTo>
                  <a:cubicBezTo>
                    <a:pt x="22" y="6"/>
                    <a:pt x="23" y="6"/>
                    <a:pt x="31" y="5"/>
                  </a:cubicBezTo>
                  <a:cubicBezTo>
                    <a:pt x="32" y="5"/>
                    <a:pt x="33" y="6"/>
                    <a:pt x="33" y="7"/>
                  </a:cubicBezTo>
                  <a:cubicBezTo>
                    <a:pt x="33" y="10"/>
                    <a:pt x="31" y="11"/>
                    <a:pt x="30" y="13"/>
                  </a:cubicBezTo>
                  <a:cubicBezTo>
                    <a:pt x="29" y="14"/>
                    <a:pt x="24" y="10"/>
                    <a:pt x="22" y="12"/>
                  </a:cubicBezTo>
                  <a:cubicBezTo>
                    <a:pt x="22" y="12"/>
                    <a:pt x="18" y="16"/>
                    <a:pt x="18" y="18"/>
                  </a:cubicBezTo>
                  <a:cubicBezTo>
                    <a:pt x="18" y="18"/>
                    <a:pt x="18" y="19"/>
                    <a:pt x="18" y="19"/>
                  </a:cubicBezTo>
                  <a:cubicBezTo>
                    <a:pt x="18" y="21"/>
                    <a:pt x="15" y="20"/>
                    <a:pt x="13" y="2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gray">
            <a:xfrm>
              <a:off x="1416050" y="3956552"/>
              <a:ext cx="54880" cy="38137"/>
            </a:xfrm>
            <a:custGeom>
              <a:avLst/>
              <a:gdLst>
                <a:gd name="T0" fmla="*/ 29 w 8"/>
                <a:gd name="T1" fmla="*/ 5 h 6"/>
                <a:gd name="T2" fmla="*/ 39 w 8"/>
                <a:gd name="T3" fmla="*/ 19 h 6"/>
                <a:gd name="T4" fmla="*/ 20 w 8"/>
                <a:gd name="T5" fmla="*/ 29 h 6"/>
                <a:gd name="T6" fmla="*/ 0 w 8"/>
                <a:gd name="T7" fmla="*/ 19 h 6"/>
                <a:gd name="T8" fmla="*/ 10 w 8"/>
                <a:gd name="T9" fmla="*/ 10 h 6"/>
                <a:gd name="T10" fmla="*/ 24 w 8"/>
                <a:gd name="T11" fmla="*/ 0 h 6"/>
                <a:gd name="T12" fmla="*/ 29 w 8"/>
                <a:gd name="T13" fmla="*/ 5 h 6"/>
                <a:gd name="T14" fmla="*/ 29 w 8"/>
                <a:gd name="T15" fmla="*/ 5 h 6"/>
                <a:gd name="T16" fmla="*/ 29 w 8"/>
                <a:gd name="T17" fmla="*/ 5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6"/>
                <a:gd name="T29" fmla="*/ 8 w 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6">
                  <a:moveTo>
                    <a:pt x="6" y="1"/>
                  </a:moveTo>
                  <a:cubicBezTo>
                    <a:pt x="7" y="1"/>
                    <a:pt x="8" y="2"/>
                    <a:pt x="8" y="4"/>
                  </a:cubicBezTo>
                  <a:cubicBezTo>
                    <a:pt x="8" y="6"/>
                    <a:pt x="5" y="6"/>
                    <a:pt x="4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3" y="2"/>
                    <a:pt x="3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gray">
            <a:xfrm>
              <a:off x="1499074" y="3917099"/>
              <a:ext cx="54880" cy="46028"/>
            </a:xfrm>
            <a:custGeom>
              <a:avLst/>
              <a:gdLst>
                <a:gd name="T0" fmla="*/ 24 w 8"/>
                <a:gd name="T1" fmla="*/ 15 h 7"/>
                <a:gd name="T2" fmla="*/ 34 w 8"/>
                <a:gd name="T3" fmla="*/ 5 h 7"/>
                <a:gd name="T4" fmla="*/ 39 w 8"/>
                <a:gd name="T5" fmla="*/ 10 h 7"/>
                <a:gd name="T6" fmla="*/ 15 w 8"/>
                <a:gd name="T7" fmla="*/ 35 h 7"/>
                <a:gd name="T8" fmla="*/ 0 w 8"/>
                <a:gd name="T9" fmla="*/ 25 h 7"/>
                <a:gd name="T10" fmla="*/ 15 w 8"/>
                <a:gd name="T11" fmla="*/ 10 h 7"/>
                <a:gd name="T12" fmla="*/ 24 w 8"/>
                <a:gd name="T13" fmla="*/ 15 h 7"/>
                <a:gd name="T14" fmla="*/ 24 w 8"/>
                <a:gd name="T15" fmla="*/ 15 h 7"/>
                <a:gd name="T16" fmla="*/ 24 w 8"/>
                <a:gd name="T17" fmla="*/ 15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7"/>
                <a:gd name="T29" fmla="*/ 8 w 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7">
                  <a:moveTo>
                    <a:pt x="5" y="3"/>
                  </a:moveTo>
                  <a:cubicBezTo>
                    <a:pt x="6" y="3"/>
                    <a:pt x="7" y="1"/>
                    <a:pt x="7" y="1"/>
                  </a:cubicBezTo>
                  <a:cubicBezTo>
                    <a:pt x="8" y="0"/>
                    <a:pt x="8" y="2"/>
                    <a:pt x="8" y="2"/>
                  </a:cubicBezTo>
                  <a:cubicBezTo>
                    <a:pt x="8" y="4"/>
                    <a:pt x="5" y="7"/>
                    <a:pt x="3" y="7"/>
                  </a:cubicBezTo>
                  <a:cubicBezTo>
                    <a:pt x="1" y="7"/>
                    <a:pt x="0" y="7"/>
                    <a:pt x="0" y="5"/>
                  </a:cubicBezTo>
                  <a:cubicBezTo>
                    <a:pt x="2" y="5"/>
                    <a:pt x="3" y="2"/>
                    <a:pt x="3" y="2"/>
                  </a:cubicBezTo>
                  <a:cubicBezTo>
                    <a:pt x="5" y="2"/>
                    <a:pt x="4" y="3"/>
                    <a:pt x="5" y="3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34" name="Rectangle 3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619626" y="2355850"/>
            <a:ext cx="562655" cy="1846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astern</a:t>
            </a:r>
          </a:p>
        </p:txBody>
      </p:sp>
      <p:sp>
        <p:nvSpPr>
          <p:cNvPr id="35" name="Rectangle 3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462588" y="3432175"/>
            <a:ext cx="1016304" cy="1846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rth Eastern</a:t>
            </a:r>
          </a:p>
        </p:txBody>
      </p:sp>
      <p:sp>
        <p:nvSpPr>
          <p:cNvPr id="36" name="Rectangle 3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599114" y="4832350"/>
            <a:ext cx="426399" cy="1846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oast</a:t>
            </a:r>
          </a:p>
        </p:txBody>
      </p:sp>
      <p:sp>
        <p:nvSpPr>
          <p:cNvPr id="37" name="Rectangle 3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202114" y="3900488"/>
            <a:ext cx="528991" cy="1846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entral</a:t>
            </a:r>
          </a:p>
        </p:txBody>
      </p:sp>
      <p:sp>
        <p:nvSpPr>
          <p:cNvPr id="38" name="Rectangle 3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932113" y="3976688"/>
            <a:ext cx="537006" cy="1846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yanza</a:t>
            </a:r>
          </a:p>
        </p:txBody>
      </p:sp>
      <p:sp>
        <p:nvSpPr>
          <p:cNvPr id="39" name="Rectangle 3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4141788" y="2881313"/>
            <a:ext cx="735330" cy="1846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ift Valley</a:t>
            </a:r>
          </a:p>
        </p:txBody>
      </p:sp>
      <p:sp>
        <p:nvSpPr>
          <p:cNvPr id="40" name="Rectangle 3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571875" y="3436938"/>
            <a:ext cx="603178" cy="1846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estern</a:t>
            </a:r>
          </a:p>
        </p:txBody>
      </p:sp>
      <p:grpSp>
        <p:nvGrpSpPr>
          <p:cNvPr id="5" name="Group 4"/>
          <p:cNvGrpSpPr/>
          <p:nvPr>
            <p:custDataLst>
              <p:tags r:id="rId20"/>
            </p:custDataLst>
          </p:nvPr>
        </p:nvGrpSpPr>
        <p:grpSpPr>
          <a:xfrm>
            <a:off x="3063875" y="955676"/>
            <a:ext cx="935038" cy="606425"/>
            <a:chOff x="1539875" y="955675"/>
            <a:chExt cx="935038" cy="606425"/>
          </a:xfrm>
        </p:grpSpPr>
        <p:sp>
          <p:nvSpPr>
            <p:cNvPr id="42" name="Freeform 40"/>
            <p:cNvSpPr>
              <a:spLocks/>
            </p:cNvSpPr>
            <p:nvPr/>
          </p:nvSpPr>
          <p:spPr bwMode="gray">
            <a:xfrm>
              <a:off x="1557338" y="955675"/>
              <a:ext cx="917575" cy="506413"/>
            </a:xfrm>
            <a:custGeom>
              <a:avLst/>
              <a:gdLst>
                <a:gd name="T0" fmla="*/ 5 w 578"/>
                <a:gd name="T1" fmla="*/ 306 h 319"/>
                <a:gd name="T2" fmla="*/ 228 w 578"/>
                <a:gd name="T3" fmla="*/ 104 h 319"/>
                <a:gd name="T4" fmla="*/ 276 w 578"/>
                <a:gd name="T5" fmla="*/ 64 h 319"/>
                <a:gd name="T6" fmla="*/ 304 w 578"/>
                <a:gd name="T7" fmla="*/ 0 h 319"/>
                <a:gd name="T8" fmla="*/ 352 w 578"/>
                <a:gd name="T9" fmla="*/ 0 h 319"/>
                <a:gd name="T10" fmla="*/ 412 w 578"/>
                <a:gd name="T11" fmla="*/ 0 h 319"/>
                <a:gd name="T12" fmla="*/ 428 w 578"/>
                <a:gd name="T13" fmla="*/ 24 h 319"/>
                <a:gd name="T14" fmla="*/ 452 w 578"/>
                <a:gd name="T15" fmla="*/ 8 h 319"/>
                <a:gd name="T16" fmla="*/ 500 w 578"/>
                <a:gd name="T17" fmla="*/ 36 h 319"/>
                <a:gd name="T18" fmla="*/ 500 w 578"/>
                <a:gd name="T19" fmla="*/ 68 h 319"/>
                <a:gd name="T20" fmla="*/ 508 w 578"/>
                <a:gd name="T21" fmla="*/ 112 h 319"/>
                <a:gd name="T22" fmla="*/ 492 w 578"/>
                <a:gd name="T23" fmla="*/ 224 h 319"/>
                <a:gd name="T24" fmla="*/ 538 w 578"/>
                <a:gd name="T25" fmla="*/ 265 h 319"/>
                <a:gd name="T26" fmla="*/ 547 w 578"/>
                <a:gd name="T27" fmla="*/ 264 h 319"/>
                <a:gd name="T28" fmla="*/ 553 w 578"/>
                <a:gd name="T29" fmla="*/ 273 h 319"/>
                <a:gd name="T30" fmla="*/ 554 w 578"/>
                <a:gd name="T31" fmla="*/ 283 h 319"/>
                <a:gd name="T32" fmla="*/ 554 w 578"/>
                <a:gd name="T33" fmla="*/ 295 h 319"/>
                <a:gd name="T34" fmla="*/ 578 w 578"/>
                <a:gd name="T35" fmla="*/ 319 h 319"/>
                <a:gd name="T36" fmla="*/ 0 w 578"/>
                <a:gd name="T37" fmla="*/ 312 h 3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78"/>
                <a:gd name="T58" fmla="*/ 0 h 319"/>
                <a:gd name="T59" fmla="*/ 578 w 578"/>
                <a:gd name="T60" fmla="*/ 319 h 3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78" h="319">
                  <a:moveTo>
                    <a:pt x="5" y="306"/>
                  </a:moveTo>
                  <a:lnTo>
                    <a:pt x="228" y="104"/>
                  </a:lnTo>
                  <a:lnTo>
                    <a:pt x="276" y="64"/>
                  </a:lnTo>
                  <a:lnTo>
                    <a:pt x="304" y="0"/>
                  </a:lnTo>
                  <a:lnTo>
                    <a:pt x="352" y="0"/>
                  </a:lnTo>
                  <a:lnTo>
                    <a:pt x="412" y="0"/>
                  </a:lnTo>
                  <a:lnTo>
                    <a:pt x="428" y="24"/>
                  </a:lnTo>
                  <a:lnTo>
                    <a:pt x="452" y="8"/>
                  </a:lnTo>
                  <a:lnTo>
                    <a:pt x="500" y="36"/>
                  </a:lnTo>
                  <a:lnTo>
                    <a:pt x="500" y="68"/>
                  </a:lnTo>
                  <a:lnTo>
                    <a:pt x="508" y="112"/>
                  </a:lnTo>
                  <a:lnTo>
                    <a:pt x="492" y="224"/>
                  </a:lnTo>
                  <a:lnTo>
                    <a:pt x="538" y="265"/>
                  </a:lnTo>
                  <a:lnTo>
                    <a:pt x="547" y="264"/>
                  </a:lnTo>
                  <a:lnTo>
                    <a:pt x="553" y="273"/>
                  </a:lnTo>
                  <a:lnTo>
                    <a:pt x="554" y="283"/>
                  </a:lnTo>
                  <a:lnTo>
                    <a:pt x="554" y="295"/>
                  </a:lnTo>
                  <a:lnTo>
                    <a:pt x="578" y="319"/>
                  </a:lnTo>
                  <a:lnTo>
                    <a:pt x="0" y="31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3" name="Freeform 41"/>
            <p:cNvSpPr>
              <a:spLocks/>
            </p:cNvSpPr>
            <p:nvPr/>
          </p:nvSpPr>
          <p:spPr bwMode="gray">
            <a:xfrm>
              <a:off x="1539875" y="1374775"/>
              <a:ext cx="933450" cy="187325"/>
            </a:xfrm>
            <a:custGeom>
              <a:avLst/>
              <a:gdLst>
                <a:gd name="T0" fmla="*/ 58 w 588"/>
                <a:gd name="T1" fmla="*/ 0 h 118"/>
                <a:gd name="T2" fmla="*/ 0 w 588"/>
                <a:gd name="T3" fmla="*/ 60 h 118"/>
                <a:gd name="T4" fmla="*/ 13 w 588"/>
                <a:gd name="T5" fmla="*/ 83 h 118"/>
                <a:gd name="T6" fmla="*/ 462 w 588"/>
                <a:gd name="T7" fmla="*/ 118 h 118"/>
                <a:gd name="T8" fmla="*/ 585 w 588"/>
                <a:gd name="T9" fmla="*/ 102 h 118"/>
                <a:gd name="T10" fmla="*/ 588 w 588"/>
                <a:gd name="T11" fmla="*/ 57 h 118"/>
                <a:gd name="T12" fmla="*/ 567 w 588"/>
                <a:gd name="T13" fmla="*/ 30 h 1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88"/>
                <a:gd name="T22" fmla="*/ 0 h 118"/>
                <a:gd name="T23" fmla="*/ 588 w 588"/>
                <a:gd name="T24" fmla="*/ 118 h 1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88" h="118">
                  <a:moveTo>
                    <a:pt x="58" y="0"/>
                  </a:moveTo>
                  <a:lnTo>
                    <a:pt x="0" y="60"/>
                  </a:lnTo>
                  <a:lnTo>
                    <a:pt x="13" y="83"/>
                  </a:lnTo>
                  <a:lnTo>
                    <a:pt x="462" y="118"/>
                  </a:lnTo>
                  <a:lnTo>
                    <a:pt x="585" y="102"/>
                  </a:lnTo>
                  <a:lnTo>
                    <a:pt x="588" y="57"/>
                  </a:lnTo>
                  <a:lnTo>
                    <a:pt x="567" y="3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16408" name="Line 148"/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 flipV="1">
            <a:off x="5619750" y="1714501"/>
            <a:ext cx="1347788" cy="257175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09" name="Line 149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 flipH="1">
            <a:off x="5281614" y="1966913"/>
            <a:ext cx="333375" cy="59055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0" name="Line 150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 flipH="1">
            <a:off x="5110163" y="2557463"/>
            <a:ext cx="171450" cy="709612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1" name="Line 151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V="1">
            <a:off x="5110164" y="2676525"/>
            <a:ext cx="1004887" cy="585788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2" name="Line 152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>
            <a:off x="5110164" y="3267075"/>
            <a:ext cx="47625" cy="15240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3" name="Line 153"/>
          <p:cNvSpPr>
            <a:spLocks noChangeShapeType="1"/>
          </p:cNvSpPr>
          <p:nvPr>
            <p:custDataLst>
              <p:tags r:id="rId26"/>
            </p:custDataLst>
          </p:nvPr>
        </p:nvSpPr>
        <p:spPr bwMode="gray">
          <a:xfrm flipH="1">
            <a:off x="5110163" y="3419476"/>
            <a:ext cx="42862" cy="238125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4" name="Line 154"/>
          <p:cNvSpPr>
            <a:spLocks noChangeShapeType="1"/>
          </p:cNvSpPr>
          <p:nvPr>
            <p:custDataLst>
              <p:tags r:id="rId27"/>
            </p:custDataLst>
          </p:nvPr>
        </p:nvSpPr>
        <p:spPr bwMode="gray">
          <a:xfrm flipH="1">
            <a:off x="5005389" y="3652838"/>
            <a:ext cx="104775" cy="42862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5" name="Line 155"/>
          <p:cNvSpPr>
            <a:spLocks noChangeShapeType="1"/>
          </p:cNvSpPr>
          <p:nvPr>
            <p:custDataLst>
              <p:tags r:id="rId28"/>
            </p:custDataLst>
          </p:nvPr>
        </p:nvSpPr>
        <p:spPr bwMode="gray">
          <a:xfrm flipH="1" flipV="1">
            <a:off x="4895850" y="3609976"/>
            <a:ext cx="109538" cy="85725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6" name="Line 156"/>
          <p:cNvSpPr>
            <a:spLocks noChangeShapeType="1"/>
          </p:cNvSpPr>
          <p:nvPr>
            <p:custDataLst>
              <p:tags r:id="rId29"/>
            </p:custDataLst>
          </p:nvPr>
        </p:nvSpPr>
        <p:spPr bwMode="gray">
          <a:xfrm flipH="1">
            <a:off x="4772025" y="3609975"/>
            <a:ext cx="128588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7" name="Line 157"/>
          <p:cNvSpPr>
            <a:spLocks noChangeShapeType="1"/>
          </p:cNvSpPr>
          <p:nvPr>
            <p:custDataLst>
              <p:tags r:id="rId30"/>
            </p:custDataLst>
          </p:nvPr>
        </p:nvSpPr>
        <p:spPr bwMode="gray">
          <a:xfrm>
            <a:off x="4776788" y="3609976"/>
            <a:ext cx="0" cy="100013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8" name="Line 158"/>
          <p:cNvSpPr>
            <a:spLocks noChangeShapeType="1"/>
          </p:cNvSpPr>
          <p:nvPr>
            <p:custDataLst>
              <p:tags r:id="rId31"/>
            </p:custDataLst>
          </p:nvPr>
        </p:nvSpPr>
        <p:spPr bwMode="gray">
          <a:xfrm>
            <a:off x="4776788" y="3714750"/>
            <a:ext cx="19050" cy="7620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19" name="Line 159"/>
          <p:cNvSpPr>
            <a:spLocks noChangeShapeType="1"/>
          </p:cNvSpPr>
          <p:nvPr>
            <p:custDataLst>
              <p:tags r:id="rId32"/>
            </p:custDataLst>
          </p:nvPr>
        </p:nvSpPr>
        <p:spPr bwMode="gray">
          <a:xfrm>
            <a:off x="4800601" y="3795714"/>
            <a:ext cx="104775" cy="33337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20" name="Line 160"/>
          <p:cNvSpPr>
            <a:spLocks noChangeShapeType="1"/>
          </p:cNvSpPr>
          <p:nvPr>
            <p:custDataLst>
              <p:tags r:id="rId33"/>
            </p:custDataLst>
          </p:nvPr>
        </p:nvSpPr>
        <p:spPr bwMode="gray">
          <a:xfrm flipH="1">
            <a:off x="4905376" y="3833814"/>
            <a:ext cx="4763" cy="204787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21" name="Line 161"/>
          <p:cNvSpPr>
            <a:spLocks noChangeShapeType="1"/>
          </p:cNvSpPr>
          <p:nvPr>
            <p:custDataLst>
              <p:tags r:id="rId34"/>
            </p:custDataLst>
          </p:nvPr>
        </p:nvSpPr>
        <p:spPr bwMode="gray">
          <a:xfrm>
            <a:off x="4905376" y="4043363"/>
            <a:ext cx="119063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22" name="Line 162"/>
          <p:cNvSpPr>
            <a:spLocks noChangeShapeType="1"/>
          </p:cNvSpPr>
          <p:nvPr>
            <p:custDataLst>
              <p:tags r:id="rId35"/>
            </p:custDataLst>
          </p:nvPr>
        </p:nvSpPr>
        <p:spPr bwMode="gray">
          <a:xfrm>
            <a:off x="5014914" y="4038601"/>
            <a:ext cx="204787" cy="66675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23" name="Line 163"/>
          <p:cNvSpPr>
            <a:spLocks noChangeShapeType="1"/>
          </p:cNvSpPr>
          <p:nvPr>
            <p:custDataLst>
              <p:tags r:id="rId36"/>
            </p:custDataLst>
          </p:nvPr>
        </p:nvSpPr>
        <p:spPr bwMode="gray">
          <a:xfrm>
            <a:off x="5219700" y="4105276"/>
            <a:ext cx="242888" cy="80963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24" name="Line 164"/>
          <p:cNvSpPr>
            <a:spLocks noChangeShapeType="1"/>
          </p:cNvSpPr>
          <p:nvPr>
            <p:custDataLst>
              <p:tags r:id="rId37"/>
            </p:custDataLst>
          </p:nvPr>
        </p:nvSpPr>
        <p:spPr bwMode="gray">
          <a:xfrm flipV="1">
            <a:off x="5005388" y="4181476"/>
            <a:ext cx="457200" cy="119063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25" name="Line 165"/>
          <p:cNvSpPr>
            <a:spLocks noChangeShapeType="1"/>
          </p:cNvSpPr>
          <p:nvPr>
            <p:custDataLst>
              <p:tags r:id="rId38"/>
            </p:custDataLst>
          </p:nvPr>
        </p:nvSpPr>
        <p:spPr bwMode="gray">
          <a:xfrm flipV="1">
            <a:off x="5005388" y="4181475"/>
            <a:ext cx="61912" cy="109538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26" name="Line 166"/>
          <p:cNvSpPr>
            <a:spLocks noChangeShapeType="1"/>
          </p:cNvSpPr>
          <p:nvPr>
            <p:custDataLst>
              <p:tags r:id="rId39"/>
            </p:custDataLst>
          </p:nvPr>
        </p:nvSpPr>
        <p:spPr bwMode="gray">
          <a:xfrm flipH="1" flipV="1">
            <a:off x="5014914" y="4038601"/>
            <a:ext cx="52387" cy="142875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27" name="Line 167"/>
          <p:cNvSpPr>
            <a:spLocks noChangeShapeType="1"/>
          </p:cNvSpPr>
          <p:nvPr>
            <p:custDataLst>
              <p:tags r:id="rId40"/>
            </p:custDataLst>
          </p:nvPr>
        </p:nvSpPr>
        <p:spPr bwMode="gray">
          <a:xfrm flipH="1">
            <a:off x="4605339" y="4048126"/>
            <a:ext cx="295275" cy="257175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28" name="Line 168"/>
          <p:cNvSpPr>
            <a:spLocks noChangeShapeType="1"/>
          </p:cNvSpPr>
          <p:nvPr>
            <p:custDataLst>
              <p:tags r:id="rId41"/>
            </p:custDataLst>
          </p:nvPr>
        </p:nvSpPr>
        <p:spPr bwMode="gray">
          <a:xfrm>
            <a:off x="4610100" y="4305300"/>
            <a:ext cx="109538" cy="7620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cxnSp>
        <p:nvCxnSpPr>
          <p:cNvPr id="16429" name="AutoShape 169"/>
          <p:cNvCxnSpPr>
            <a:cxnSpLocks noChangeShapeType="1"/>
            <a:stCxn id="16498" idx="4"/>
            <a:endCxn id="16499" idx="0"/>
          </p:cNvCxnSpPr>
          <p:nvPr>
            <p:custDataLst>
              <p:tags r:id="rId42"/>
            </p:custDataLst>
          </p:nvPr>
        </p:nvCxnSpPr>
        <p:spPr bwMode="gray">
          <a:xfrm flipH="1">
            <a:off x="4611689" y="4406900"/>
            <a:ext cx="109537" cy="165100"/>
          </a:xfrm>
          <a:prstGeom prst="straightConnector1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cxnSp>
        <p:nvCxnSpPr>
          <p:cNvPr id="16430" name="AutoShape 170"/>
          <p:cNvCxnSpPr>
            <a:cxnSpLocks noChangeShapeType="1"/>
            <a:stCxn id="16499" idx="4"/>
            <a:endCxn id="16540" idx="0"/>
          </p:cNvCxnSpPr>
          <p:nvPr>
            <p:custDataLst>
              <p:tags r:id="rId43"/>
            </p:custDataLst>
          </p:nvPr>
        </p:nvCxnSpPr>
        <p:spPr bwMode="gray">
          <a:xfrm>
            <a:off x="4611688" y="4616450"/>
            <a:ext cx="0" cy="522288"/>
          </a:xfrm>
          <a:prstGeom prst="straightConnector1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cxnSp>
        <p:nvCxnSpPr>
          <p:cNvPr id="16431" name="AutoShape 171"/>
          <p:cNvCxnSpPr>
            <a:cxnSpLocks noChangeShapeType="1"/>
            <a:stCxn id="16497" idx="3"/>
            <a:endCxn id="16500" idx="6"/>
          </p:cNvCxnSpPr>
          <p:nvPr>
            <p:custDataLst>
              <p:tags r:id="rId44"/>
            </p:custDataLst>
          </p:nvPr>
        </p:nvCxnSpPr>
        <p:spPr bwMode="gray">
          <a:xfrm flipH="1">
            <a:off x="4252913" y="4319588"/>
            <a:ext cx="342900" cy="93662"/>
          </a:xfrm>
          <a:prstGeom prst="straightConnector1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cxnSp>
        <p:nvCxnSpPr>
          <p:cNvPr id="16432" name="AutoShape 172"/>
          <p:cNvCxnSpPr>
            <a:cxnSpLocks noChangeShapeType="1"/>
            <a:stCxn id="16500" idx="1"/>
            <a:endCxn id="16501" idx="6"/>
          </p:cNvCxnSpPr>
          <p:nvPr>
            <p:custDataLst>
              <p:tags r:id="rId45"/>
            </p:custDataLst>
          </p:nvPr>
        </p:nvCxnSpPr>
        <p:spPr bwMode="gray">
          <a:xfrm flipH="1" flipV="1">
            <a:off x="3905251" y="4265613"/>
            <a:ext cx="309563" cy="131762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33" name="AutoShape 173"/>
          <p:cNvCxnSpPr>
            <a:cxnSpLocks noChangeShapeType="1"/>
            <a:stCxn id="16501" idx="0"/>
            <a:endCxn id="16502" idx="4"/>
          </p:cNvCxnSpPr>
          <p:nvPr>
            <p:custDataLst>
              <p:tags r:id="rId46"/>
            </p:custDataLst>
          </p:nvPr>
        </p:nvCxnSpPr>
        <p:spPr bwMode="gray">
          <a:xfrm flipV="1">
            <a:off x="3883025" y="4130676"/>
            <a:ext cx="0" cy="112713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34" name="AutoShape 174"/>
          <p:cNvCxnSpPr>
            <a:cxnSpLocks noChangeShapeType="1"/>
            <a:stCxn id="16502" idx="2"/>
            <a:endCxn id="16503" idx="0"/>
          </p:cNvCxnSpPr>
          <p:nvPr>
            <p:custDataLst>
              <p:tags r:id="rId47"/>
            </p:custDataLst>
          </p:nvPr>
        </p:nvCxnSpPr>
        <p:spPr bwMode="gray">
          <a:xfrm flipH="1">
            <a:off x="3725864" y="4108450"/>
            <a:ext cx="134937" cy="134938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35" name="AutoShape 175"/>
          <p:cNvCxnSpPr>
            <a:cxnSpLocks noChangeShapeType="1"/>
            <a:stCxn id="16503" idx="2"/>
            <a:endCxn id="16504" idx="6"/>
          </p:cNvCxnSpPr>
          <p:nvPr>
            <p:custDataLst>
              <p:tags r:id="rId48"/>
            </p:custDataLst>
          </p:nvPr>
        </p:nvCxnSpPr>
        <p:spPr bwMode="gray">
          <a:xfrm flipH="1">
            <a:off x="3571876" y="4265613"/>
            <a:ext cx="131763" cy="0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36" name="AutoShape 176"/>
          <p:cNvCxnSpPr>
            <a:cxnSpLocks noChangeShapeType="1"/>
            <a:stCxn id="16504" idx="3"/>
            <a:endCxn id="16505" idx="7"/>
          </p:cNvCxnSpPr>
          <p:nvPr>
            <p:custDataLst>
              <p:tags r:id="rId49"/>
            </p:custDataLst>
          </p:nvPr>
        </p:nvCxnSpPr>
        <p:spPr bwMode="gray">
          <a:xfrm flipH="1">
            <a:off x="3455989" y="4281489"/>
            <a:ext cx="77787" cy="15875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37" name="AutoShape 177"/>
          <p:cNvCxnSpPr>
            <a:cxnSpLocks noChangeShapeType="1"/>
            <a:stCxn id="16506" idx="0"/>
            <a:endCxn id="16505" idx="3"/>
          </p:cNvCxnSpPr>
          <p:nvPr>
            <p:custDataLst>
              <p:tags r:id="rId50"/>
            </p:custDataLst>
          </p:nvPr>
        </p:nvCxnSpPr>
        <p:spPr bwMode="gray">
          <a:xfrm flipV="1">
            <a:off x="3411538" y="4329114"/>
            <a:ext cx="12700" cy="66675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38" name="AutoShape 178"/>
          <p:cNvCxnSpPr>
            <a:cxnSpLocks noChangeShapeType="1"/>
            <a:stCxn id="16506" idx="4"/>
            <a:endCxn id="16507" idx="1"/>
          </p:cNvCxnSpPr>
          <p:nvPr>
            <p:custDataLst>
              <p:tags r:id="rId51"/>
            </p:custDataLst>
          </p:nvPr>
        </p:nvCxnSpPr>
        <p:spPr bwMode="gray">
          <a:xfrm>
            <a:off x="3411538" y="4440238"/>
            <a:ext cx="36512" cy="61912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39" name="AutoShape 179"/>
          <p:cNvCxnSpPr>
            <a:cxnSpLocks noChangeShapeType="1"/>
            <a:stCxn id="16504" idx="0"/>
            <a:endCxn id="16508" idx="4"/>
          </p:cNvCxnSpPr>
          <p:nvPr>
            <p:custDataLst>
              <p:tags r:id="rId52"/>
            </p:custDataLst>
          </p:nvPr>
        </p:nvCxnSpPr>
        <p:spPr bwMode="gray">
          <a:xfrm flipH="1" flipV="1">
            <a:off x="3540126" y="4064000"/>
            <a:ext cx="9525" cy="179388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40" name="AutoShape 180"/>
          <p:cNvCxnSpPr>
            <a:cxnSpLocks noChangeShapeType="1"/>
            <a:stCxn id="16508" idx="0"/>
            <a:endCxn id="16509" idx="3"/>
          </p:cNvCxnSpPr>
          <p:nvPr>
            <p:custDataLst>
              <p:tags r:id="rId53"/>
            </p:custDataLst>
          </p:nvPr>
        </p:nvCxnSpPr>
        <p:spPr bwMode="gray">
          <a:xfrm flipV="1">
            <a:off x="3540125" y="3829050"/>
            <a:ext cx="141288" cy="190500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41" name="AutoShape 181"/>
          <p:cNvCxnSpPr>
            <a:cxnSpLocks noChangeShapeType="1"/>
            <a:stCxn id="16509" idx="1"/>
            <a:endCxn id="16510" idx="5"/>
          </p:cNvCxnSpPr>
          <p:nvPr>
            <p:custDataLst>
              <p:tags r:id="rId54"/>
            </p:custDataLst>
          </p:nvPr>
        </p:nvCxnSpPr>
        <p:spPr bwMode="gray">
          <a:xfrm flipH="1" flipV="1">
            <a:off x="3598863" y="3748088"/>
            <a:ext cx="82550" cy="49212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42" name="AutoShape 182"/>
          <p:cNvCxnSpPr>
            <a:cxnSpLocks noChangeShapeType="1"/>
            <a:stCxn id="16510" idx="1"/>
            <a:endCxn id="16511" idx="4"/>
          </p:cNvCxnSpPr>
          <p:nvPr>
            <p:custDataLst>
              <p:tags r:id="rId55"/>
            </p:custDataLst>
          </p:nvPr>
        </p:nvCxnSpPr>
        <p:spPr bwMode="gray">
          <a:xfrm flipH="1" flipV="1">
            <a:off x="3497263" y="3554414"/>
            <a:ext cx="69850" cy="161925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43" name="AutoShape 186"/>
          <p:cNvCxnSpPr>
            <a:cxnSpLocks noChangeShapeType="1"/>
            <a:stCxn id="16481" idx="0"/>
            <a:endCxn id="16483" idx="4"/>
          </p:cNvCxnSpPr>
          <p:nvPr>
            <p:custDataLst>
              <p:tags r:id="rId56"/>
            </p:custDataLst>
          </p:nvPr>
        </p:nvCxnSpPr>
        <p:spPr bwMode="gray">
          <a:xfrm flipV="1">
            <a:off x="4778375" y="3325813"/>
            <a:ext cx="0" cy="265112"/>
          </a:xfrm>
          <a:prstGeom prst="straightConnector1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cxnSp>
        <p:nvCxnSpPr>
          <p:cNvPr id="16444" name="AutoShape 187"/>
          <p:cNvCxnSpPr>
            <a:cxnSpLocks noChangeShapeType="1"/>
            <a:stCxn id="16483" idx="2"/>
            <a:endCxn id="16495" idx="6"/>
          </p:cNvCxnSpPr>
          <p:nvPr>
            <p:custDataLst>
              <p:tags r:id="rId57"/>
            </p:custDataLst>
          </p:nvPr>
        </p:nvCxnSpPr>
        <p:spPr bwMode="gray">
          <a:xfrm flipH="1">
            <a:off x="4438650" y="3303588"/>
            <a:ext cx="317500" cy="19050"/>
          </a:xfrm>
          <a:prstGeom prst="straightConnector1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cxnSp>
        <p:nvCxnSpPr>
          <p:cNvPr id="16445" name="AutoShape 188"/>
          <p:cNvCxnSpPr>
            <a:cxnSpLocks noChangeShapeType="1"/>
            <a:stCxn id="16495" idx="3"/>
            <a:endCxn id="16496" idx="0"/>
          </p:cNvCxnSpPr>
          <p:nvPr>
            <p:custDataLst>
              <p:tags r:id="rId58"/>
            </p:custDataLst>
          </p:nvPr>
        </p:nvCxnSpPr>
        <p:spPr bwMode="gray">
          <a:xfrm flipH="1">
            <a:off x="4235450" y="3338514"/>
            <a:ext cx="165100" cy="161925"/>
          </a:xfrm>
          <a:prstGeom prst="straightConnector1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cxnSp>
        <p:nvCxnSpPr>
          <p:cNvPr id="16446" name="AutoShape 189"/>
          <p:cNvCxnSpPr>
            <a:cxnSpLocks noChangeShapeType="1"/>
            <a:stCxn id="16511" idx="2"/>
            <a:endCxn id="16514" idx="5"/>
          </p:cNvCxnSpPr>
          <p:nvPr>
            <p:custDataLst>
              <p:tags r:id="rId59"/>
            </p:custDataLst>
          </p:nvPr>
        </p:nvCxnSpPr>
        <p:spPr bwMode="gray">
          <a:xfrm flipH="1" flipV="1">
            <a:off x="3360738" y="3505200"/>
            <a:ext cx="114300" cy="26988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47" name="AutoShape 190"/>
          <p:cNvCxnSpPr>
            <a:cxnSpLocks noChangeShapeType="1"/>
            <a:stCxn id="16514" idx="2"/>
            <a:endCxn id="16515" idx="6"/>
          </p:cNvCxnSpPr>
          <p:nvPr>
            <p:custDataLst>
              <p:tags r:id="rId60"/>
            </p:custDataLst>
          </p:nvPr>
        </p:nvCxnSpPr>
        <p:spPr bwMode="gray">
          <a:xfrm flipH="1" flipV="1">
            <a:off x="3224214" y="3455989"/>
            <a:ext cx="98425" cy="33337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48" name="AutoShape 191"/>
          <p:cNvCxnSpPr>
            <a:cxnSpLocks noChangeShapeType="1"/>
            <a:stCxn id="16515" idx="2"/>
            <a:endCxn id="16516" idx="5"/>
          </p:cNvCxnSpPr>
          <p:nvPr>
            <p:custDataLst>
              <p:tags r:id="rId61"/>
            </p:custDataLst>
          </p:nvPr>
        </p:nvCxnSpPr>
        <p:spPr bwMode="gray">
          <a:xfrm flipH="1" flipV="1">
            <a:off x="3146425" y="3409950"/>
            <a:ext cx="33338" cy="46038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49" name="AutoShape 192"/>
          <p:cNvCxnSpPr>
            <a:cxnSpLocks noChangeShapeType="1"/>
            <a:stCxn id="16511" idx="0"/>
            <a:endCxn id="16512" idx="3"/>
          </p:cNvCxnSpPr>
          <p:nvPr>
            <p:custDataLst>
              <p:tags r:id="rId62"/>
            </p:custDataLst>
          </p:nvPr>
        </p:nvCxnSpPr>
        <p:spPr bwMode="gray">
          <a:xfrm flipV="1">
            <a:off x="3497263" y="3338513"/>
            <a:ext cx="74612" cy="171450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50" name="AutoShape 193"/>
          <p:cNvCxnSpPr>
            <a:cxnSpLocks noChangeShapeType="1"/>
            <a:stCxn id="16512" idx="1"/>
            <a:endCxn id="16517" idx="6"/>
          </p:cNvCxnSpPr>
          <p:nvPr>
            <p:custDataLst>
              <p:tags r:id="rId63"/>
            </p:custDataLst>
          </p:nvPr>
        </p:nvCxnSpPr>
        <p:spPr bwMode="gray">
          <a:xfrm flipH="1" flipV="1">
            <a:off x="3490913" y="3246439"/>
            <a:ext cx="80962" cy="60325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51" name="AutoShape 194"/>
          <p:cNvCxnSpPr>
            <a:cxnSpLocks noChangeShapeType="1"/>
            <a:stCxn id="16517" idx="2"/>
            <a:endCxn id="16518" idx="6"/>
          </p:cNvCxnSpPr>
          <p:nvPr>
            <p:custDataLst>
              <p:tags r:id="rId64"/>
            </p:custDataLst>
          </p:nvPr>
        </p:nvCxnSpPr>
        <p:spPr bwMode="gray">
          <a:xfrm flipH="1">
            <a:off x="3367089" y="3246438"/>
            <a:ext cx="79375" cy="0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52" name="AutoShape 195"/>
          <p:cNvCxnSpPr>
            <a:cxnSpLocks noChangeShapeType="1"/>
            <a:stCxn id="16512" idx="6"/>
            <a:endCxn id="16513" idx="2"/>
          </p:cNvCxnSpPr>
          <p:nvPr>
            <p:custDataLst>
              <p:tags r:id="rId65"/>
            </p:custDataLst>
          </p:nvPr>
        </p:nvCxnSpPr>
        <p:spPr bwMode="gray">
          <a:xfrm flipV="1">
            <a:off x="3609975" y="3260726"/>
            <a:ext cx="260350" cy="61913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6453" name="AutoShape 196"/>
          <p:cNvCxnSpPr>
            <a:cxnSpLocks noChangeShapeType="1"/>
            <a:stCxn id="16513" idx="1"/>
            <a:endCxn id="16519" idx="5"/>
          </p:cNvCxnSpPr>
          <p:nvPr>
            <p:custDataLst>
              <p:tags r:id="rId66"/>
            </p:custDataLst>
          </p:nvPr>
        </p:nvCxnSpPr>
        <p:spPr bwMode="gray">
          <a:xfrm flipH="1" flipV="1">
            <a:off x="3594101" y="2757488"/>
            <a:ext cx="282575" cy="487362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54" name="AutoShape 197"/>
          <p:cNvCxnSpPr>
            <a:cxnSpLocks noChangeShapeType="1"/>
            <a:stCxn id="16519" idx="0"/>
            <a:endCxn id="16520" idx="3"/>
          </p:cNvCxnSpPr>
          <p:nvPr>
            <p:custDataLst>
              <p:tags r:id="rId67"/>
            </p:custDataLst>
          </p:nvPr>
        </p:nvCxnSpPr>
        <p:spPr bwMode="gray">
          <a:xfrm flipV="1">
            <a:off x="3578225" y="2662238"/>
            <a:ext cx="65088" cy="57150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55" name="AutoShape 198"/>
          <p:cNvCxnSpPr>
            <a:cxnSpLocks noChangeShapeType="1"/>
            <a:stCxn id="16520" idx="0"/>
            <a:endCxn id="16521" idx="4"/>
          </p:cNvCxnSpPr>
          <p:nvPr>
            <p:custDataLst>
              <p:tags r:id="rId68"/>
            </p:custDataLst>
          </p:nvPr>
        </p:nvCxnSpPr>
        <p:spPr bwMode="gray">
          <a:xfrm flipV="1">
            <a:off x="3659189" y="2001838"/>
            <a:ext cx="104775" cy="622300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56" name="AutoShape 199"/>
          <p:cNvCxnSpPr>
            <a:cxnSpLocks noChangeShapeType="1"/>
            <a:stCxn id="16521" idx="1"/>
            <a:endCxn id="16522" idx="5"/>
          </p:cNvCxnSpPr>
          <p:nvPr>
            <p:custDataLst>
              <p:tags r:id="rId69"/>
            </p:custDataLst>
          </p:nvPr>
        </p:nvCxnSpPr>
        <p:spPr bwMode="gray">
          <a:xfrm flipH="1" flipV="1">
            <a:off x="3098800" y="1595438"/>
            <a:ext cx="649288" cy="368300"/>
          </a:xfrm>
          <a:prstGeom prst="straightConnector1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16457" name="AutoShape 201"/>
          <p:cNvCxnSpPr>
            <a:cxnSpLocks noChangeShapeType="1"/>
            <a:stCxn id="16582" idx="2"/>
            <a:endCxn id="16498" idx="5"/>
          </p:cNvCxnSpPr>
          <p:nvPr>
            <p:custDataLst>
              <p:tags r:id="rId70"/>
            </p:custDataLst>
          </p:nvPr>
        </p:nvCxnSpPr>
        <p:spPr bwMode="gray">
          <a:xfrm flipH="1" flipV="1">
            <a:off x="4737101" y="4400550"/>
            <a:ext cx="1090613" cy="1398588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6458" name="AutoShape 202"/>
          <p:cNvCxnSpPr>
            <a:cxnSpLocks noChangeShapeType="1"/>
            <a:stCxn id="16497" idx="1"/>
            <a:endCxn id="16496" idx="5"/>
          </p:cNvCxnSpPr>
          <p:nvPr>
            <p:custDataLst>
              <p:tags r:id="rId71"/>
            </p:custDataLst>
          </p:nvPr>
        </p:nvCxnSpPr>
        <p:spPr bwMode="gray">
          <a:xfrm flipH="1" flipV="1">
            <a:off x="4251325" y="3538538"/>
            <a:ext cx="344488" cy="749300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6459" name="AutoShape 203"/>
          <p:cNvCxnSpPr>
            <a:cxnSpLocks noChangeShapeType="1"/>
            <a:stCxn id="16496" idx="1"/>
            <a:endCxn id="16513" idx="5"/>
          </p:cNvCxnSpPr>
          <p:nvPr>
            <p:custDataLst>
              <p:tags r:id="rId72"/>
            </p:custDataLst>
          </p:nvPr>
        </p:nvCxnSpPr>
        <p:spPr bwMode="gray">
          <a:xfrm flipH="1" flipV="1">
            <a:off x="3908425" y="3276600"/>
            <a:ext cx="311150" cy="230188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6460" name="AutoShape 204"/>
          <p:cNvCxnSpPr>
            <a:cxnSpLocks noChangeShapeType="1"/>
            <a:stCxn id="16488" idx="7"/>
            <a:endCxn id="16492" idx="3"/>
          </p:cNvCxnSpPr>
          <p:nvPr>
            <p:custDataLst>
              <p:tags r:id="rId73"/>
            </p:custDataLst>
          </p:nvPr>
        </p:nvCxnSpPr>
        <p:spPr bwMode="gray">
          <a:xfrm flipV="1">
            <a:off x="5232400" y="3976689"/>
            <a:ext cx="211138" cy="115887"/>
          </a:xfrm>
          <a:prstGeom prst="straightConnector1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cxnSp>
        <p:nvCxnSpPr>
          <p:cNvPr id="16461" name="AutoShape 205"/>
          <p:cNvCxnSpPr>
            <a:cxnSpLocks noChangeShapeType="1"/>
            <a:stCxn id="16492" idx="7"/>
            <a:endCxn id="16493" idx="3"/>
          </p:cNvCxnSpPr>
          <p:nvPr>
            <p:custDataLst>
              <p:tags r:id="rId74"/>
            </p:custDataLst>
          </p:nvPr>
        </p:nvCxnSpPr>
        <p:spPr bwMode="gray">
          <a:xfrm flipV="1">
            <a:off x="5475288" y="3833814"/>
            <a:ext cx="392112" cy="111125"/>
          </a:xfrm>
          <a:prstGeom prst="straightConnector1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</p:spPr>
      </p:cxnSp>
      <p:cxnSp>
        <p:nvCxnSpPr>
          <p:cNvPr id="16462" name="AutoShape 206"/>
          <p:cNvCxnSpPr>
            <a:cxnSpLocks noChangeShapeType="1"/>
            <a:stCxn id="16493" idx="4"/>
            <a:endCxn id="16494" idx="0"/>
          </p:cNvCxnSpPr>
          <p:nvPr>
            <p:custDataLst>
              <p:tags r:id="rId75"/>
            </p:custDataLst>
          </p:nvPr>
        </p:nvCxnSpPr>
        <p:spPr bwMode="gray">
          <a:xfrm>
            <a:off x="5883275" y="3840164"/>
            <a:ext cx="261938" cy="1093787"/>
          </a:xfrm>
          <a:prstGeom prst="straightConnector1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</p:spPr>
      </p:cxnSp>
      <p:cxnSp>
        <p:nvCxnSpPr>
          <p:cNvPr id="16463" name="AutoShape 207"/>
          <p:cNvCxnSpPr>
            <a:cxnSpLocks noChangeShapeType="1"/>
            <a:stCxn id="16494" idx="6"/>
            <a:endCxn id="16579" idx="2"/>
          </p:cNvCxnSpPr>
          <p:nvPr>
            <p:custDataLst>
              <p:tags r:id="rId76"/>
            </p:custDataLst>
          </p:nvPr>
        </p:nvCxnSpPr>
        <p:spPr bwMode="gray">
          <a:xfrm flipV="1">
            <a:off x="6167438" y="4879975"/>
            <a:ext cx="317500" cy="76200"/>
          </a:xfrm>
          <a:prstGeom prst="straightConnector1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</p:spPr>
      </p:cxnSp>
      <p:grpSp>
        <p:nvGrpSpPr>
          <p:cNvPr id="8" name="Group 7"/>
          <p:cNvGrpSpPr/>
          <p:nvPr/>
        </p:nvGrpSpPr>
        <p:grpSpPr>
          <a:xfrm>
            <a:off x="8410576" y="3064945"/>
            <a:ext cx="1343025" cy="1138238"/>
            <a:chOff x="6915150" y="720725"/>
            <a:chExt cx="1343025" cy="1138238"/>
          </a:xfrm>
        </p:grpSpPr>
        <p:sp>
          <p:nvSpPr>
            <p:cNvPr id="16464" name="Line 208"/>
            <p:cNvSpPr>
              <a:spLocks noChangeShapeType="1"/>
            </p:cNvSpPr>
            <p:nvPr>
              <p:custDataLst>
                <p:tags r:id="rId188"/>
              </p:custDataLst>
            </p:nvPr>
          </p:nvSpPr>
          <p:spPr bwMode="gray">
            <a:xfrm>
              <a:off x="6915150" y="814388"/>
              <a:ext cx="280988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endParaRPr>
            </a:p>
          </p:txBody>
        </p:sp>
        <p:sp>
          <p:nvSpPr>
            <p:cNvPr id="16465" name="Rectangle 213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7261225" y="720725"/>
              <a:ext cx="9969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mic Sans MS"/>
                  <a:ea typeface="+mn-ea"/>
                  <a:cs typeface="+mn-cs"/>
                </a:rPr>
                <a:t>Central region</a:t>
              </a:r>
            </a:p>
          </p:txBody>
        </p:sp>
        <p:sp>
          <p:nvSpPr>
            <p:cNvPr id="16466" name="Line 209"/>
            <p:cNvSpPr>
              <a:spLocks noChangeShapeType="1"/>
            </p:cNvSpPr>
            <p:nvPr>
              <p:custDataLst>
                <p:tags r:id="rId190"/>
              </p:custDataLst>
            </p:nvPr>
          </p:nvSpPr>
          <p:spPr bwMode="gray">
            <a:xfrm>
              <a:off x="6915150" y="1016000"/>
              <a:ext cx="280988" cy="0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endParaRPr>
            </a:p>
          </p:txBody>
        </p:sp>
        <p:sp>
          <p:nvSpPr>
            <p:cNvPr id="16467" name="Rectangle 214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7261225" y="947738"/>
              <a:ext cx="996950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mic Sans MS"/>
                  <a:ea typeface="+mn-ea"/>
                  <a:cs typeface="+mn-cs"/>
                </a:rPr>
                <a:t>Coat and North Eastern region</a:t>
              </a:r>
            </a:p>
          </p:txBody>
        </p:sp>
        <p:sp>
          <p:nvSpPr>
            <p:cNvPr id="16468" name="Line 210"/>
            <p:cNvSpPr>
              <a:spLocks noChangeShapeType="1"/>
            </p:cNvSpPr>
            <p:nvPr>
              <p:custDataLst>
                <p:tags r:id="rId192"/>
              </p:custDataLst>
            </p:nvPr>
          </p:nvSpPr>
          <p:spPr bwMode="gray">
            <a:xfrm>
              <a:off x="6915150" y="1416050"/>
              <a:ext cx="2809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endParaRPr>
            </a:p>
          </p:txBody>
        </p:sp>
        <p:sp>
          <p:nvSpPr>
            <p:cNvPr id="16469" name="Rectangle 215"/>
            <p:cNvSpPr>
              <a:spLocks noChangeArrowheads="1"/>
            </p:cNvSpPr>
            <p:nvPr>
              <p:custDataLst>
                <p:tags r:id="rId193"/>
              </p:custDataLst>
            </p:nvPr>
          </p:nvSpPr>
          <p:spPr bwMode="gray">
            <a:xfrm>
              <a:off x="7261225" y="1327150"/>
              <a:ext cx="996950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mic Sans MS"/>
                  <a:ea typeface="+mn-ea"/>
                  <a:cs typeface="+mn-cs"/>
                </a:rPr>
                <a:t>Telkom Kenya Network</a:t>
              </a:r>
            </a:p>
          </p:txBody>
        </p:sp>
        <p:sp>
          <p:nvSpPr>
            <p:cNvPr id="16470" name="Line 211"/>
            <p:cNvSpPr>
              <a:spLocks noChangeShapeType="1"/>
            </p:cNvSpPr>
            <p:nvPr>
              <p:custDataLst>
                <p:tags r:id="rId194"/>
              </p:custDataLst>
            </p:nvPr>
          </p:nvSpPr>
          <p:spPr bwMode="gray">
            <a:xfrm>
              <a:off x="6915150" y="1771650"/>
              <a:ext cx="280988" cy="0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endParaRPr>
            </a:p>
          </p:txBody>
        </p:sp>
        <p:sp>
          <p:nvSpPr>
            <p:cNvPr id="16471" name="Rectangle 216"/>
            <p:cNvSpPr>
              <a:spLocks noChangeArrowheads="1"/>
            </p:cNvSpPr>
            <p:nvPr>
              <p:custDataLst>
                <p:tags r:id="rId195"/>
              </p:custDataLst>
            </p:nvPr>
          </p:nvSpPr>
          <p:spPr bwMode="gray">
            <a:xfrm>
              <a:off x="7261225" y="1706563"/>
              <a:ext cx="9969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mic Sans MS"/>
                  <a:ea typeface="+mn-ea"/>
                  <a:cs typeface="+mn-cs"/>
                </a:rPr>
                <a:t>Western Region</a:t>
              </a:r>
            </a:p>
          </p:txBody>
        </p:sp>
      </p:grpSp>
      <p:sp>
        <p:nvSpPr>
          <p:cNvPr id="16472" name="Oval 88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6946900" y="16954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73" name="Oval 87"/>
          <p:cNvSpPr>
            <a:spLocks noChangeArrowheads="1"/>
          </p:cNvSpPr>
          <p:nvPr>
            <p:custDataLst>
              <p:tags r:id="rId78"/>
            </p:custDataLst>
          </p:nvPr>
        </p:nvSpPr>
        <p:spPr bwMode="gray">
          <a:xfrm>
            <a:off x="5594350" y="194310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74" name="Oval 89"/>
          <p:cNvSpPr>
            <a:spLocks noChangeArrowheads="1"/>
          </p:cNvSpPr>
          <p:nvPr>
            <p:custDataLst>
              <p:tags r:id="rId79"/>
            </p:custDataLst>
          </p:nvPr>
        </p:nvSpPr>
        <p:spPr bwMode="gray">
          <a:xfrm>
            <a:off x="5260975" y="25336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75" name="Oval 91"/>
          <p:cNvSpPr>
            <a:spLocks noChangeArrowheads="1"/>
          </p:cNvSpPr>
          <p:nvPr>
            <p:custDataLst>
              <p:tags r:id="rId80"/>
            </p:custDataLst>
          </p:nvPr>
        </p:nvSpPr>
        <p:spPr bwMode="gray">
          <a:xfrm>
            <a:off x="6094413" y="265271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76" name="Oval 90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5089525" y="3248025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77" name="Oval 92"/>
          <p:cNvSpPr>
            <a:spLocks noChangeArrowheads="1"/>
          </p:cNvSpPr>
          <p:nvPr>
            <p:custDataLst>
              <p:tags r:id="rId82"/>
            </p:custDataLst>
          </p:nvPr>
        </p:nvSpPr>
        <p:spPr bwMode="gray">
          <a:xfrm>
            <a:off x="5137150" y="339566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78" name="Oval 93"/>
          <p:cNvSpPr>
            <a:spLocks noChangeArrowheads="1"/>
          </p:cNvSpPr>
          <p:nvPr>
            <p:custDataLst>
              <p:tags r:id="rId83"/>
            </p:custDataLst>
          </p:nvPr>
        </p:nvSpPr>
        <p:spPr bwMode="gray">
          <a:xfrm>
            <a:off x="5089525" y="36337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79" name="Oval 95"/>
          <p:cNvSpPr>
            <a:spLocks noChangeArrowheads="1"/>
          </p:cNvSpPr>
          <p:nvPr>
            <p:custDataLst>
              <p:tags r:id="rId84"/>
            </p:custDataLst>
          </p:nvPr>
        </p:nvSpPr>
        <p:spPr bwMode="gray">
          <a:xfrm>
            <a:off x="4989513" y="36766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0" name="Oval 96"/>
          <p:cNvSpPr>
            <a:spLocks noChangeArrowheads="1"/>
          </p:cNvSpPr>
          <p:nvPr>
            <p:custDataLst>
              <p:tags r:id="rId85"/>
            </p:custDataLst>
          </p:nvPr>
        </p:nvSpPr>
        <p:spPr bwMode="gray">
          <a:xfrm>
            <a:off x="4879975" y="3590925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1" name="Oval 97"/>
          <p:cNvSpPr>
            <a:spLocks noChangeArrowheads="1"/>
          </p:cNvSpPr>
          <p:nvPr>
            <p:custDataLst>
              <p:tags r:id="rId86"/>
            </p:custDataLst>
          </p:nvPr>
        </p:nvSpPr>
        <p:spPr bwMode="gray">
          <a:xfrm>
            <a:off x="4756150" y="3590925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2" name="Oval 98"/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>
            <a:off x="4756150" y="3686175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3" name="Oval 112"/>
          <p:cNvSpPr>
            <a:spLocks noChangeArrowheads="1"/>
          </p:cNvSpPr>
          <p:nvPr>
            <p:custDataLst>
              <p:tags r:id="rId88"/>
            </p:custDataLst>
          </p:nvPr>
        </p:nvSpPr>
        <p:spPr bwMode="gray">
          <a:xfrm>
            <a:off x="4756150" y="328136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4" name="Oval 99"/>
          <p:cNvSpPr>
            <a:spLocks noChangeArrowheads="1"/>
          </p:cNvSpPr>
          <p:nvPr>
            <p:custDataLst>
              <p:tags r:id="rId89"/>
            </p:custDataLst>
          </p:nvPr>
        </p:nvSpPr>
        <p:spPr bwMode="gray">
          <a:xfrm>
            <a:off x="4779963" y="377190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5" name="Oval 100"/>
          <p:cNvSpPr>
            <a:spLocks noChangeArrowheads="1"/>
          </p:cNvSpPr>
          <p:nvPr>
            <p:custDataLst>
              <p:tags r:id="rId90"/>
            </p:custDataLst>
          </p:nvPr>
        </p:nvSpPr>
        <p:spPr bwMode="gray">
          <a:xfrm>
            <a:off x="4884738" y="381000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6" name="Oval 101"/>
          <p:cNvSpPr>
            <a:spLocks noChangeArrowheads="1"/>
          </p:cNvSpPr>
          <p:nvPr>
            <p:custDataLst>
              <p:tags r:id="rId91"/>
            </p:custDataLst>
          </p:nvPr>
        </p:nvSpPr>
        <p:spPr bwMode="gray">
          <a:xfrm>
            <a:off x="4884738" y="40195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7" name="Oval 102"/>
          <p:cNvSpPr>
            <a:spLocks noChangeArrowheads="1"/>
          </p:cNvSpPr>
          <p:nvPr>
            <p:custDataLst>
              <p:tags r:id="rId92"/>
            </p:custDataLst>
          </p:nvPr>
        </p:nvSpPr>
        <p:spPr bwMode="gray">
          <a:xfrm>
            <a:off x="4994275" y="40195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8" name="Oval 103"/>
          <p:cNvSpPr>
            <a:spLocks noChangeArrowheads="1"/>
          </p:cNvSpPr>
          <p:nvPr>
            <p:custDataLst>
              <p:tags r:id="rId93"/>
            </p:custDataLst>
          </p:nvPr>
        </p:nvSpPr>
        <p:spPr bwMode="gray">
          <a:xfrm>
            <a:off x="5194300" y="4086225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89" name="Oval 104"/>
          <p:cNvSpPr>
            <a:spLocks noChangeArrowheads="1"/>
          </p:cNvSpPr>
          <p:nvPr>
            <p:custDataLst>
              <p:tags r:id="rId94"/>
            </p:custDataLst>
          </p:nvPr>
        </p:nvSpPr>
        <p:spPr bwMode="gray">
          <a:xfrm>
            <a:off x="5046663" y="4162425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0" name="Oval 105"/>
          <p:cNvSpPr>
            <a:spLocks noChangeArrowheads="1"/>
          </p:cNvSpPr>
          <p:nvPr>
            <p:custDataLst>
              <p:tags r:id="rId95"/>
            </p:custDataLst>
          </p:nvPr>
        </p:nvSpPr>
        <p:spPr bwMode="gray">
          <a:xfrm>
            <a:off x="4984750" y="42814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1" name="Oval 106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5437188" y="4162425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2" name="Oval 107"/>
          <p:cNvSpPr>
            <a:spLocks noChangeArrowheads="1"/>
          </p:cNvSpPr>
          <p:nvPr>
            <p:custDataLst>
              <p:tags r:id="rId97"/>
            </p:custDataLst>
          </p:nvPr>
        </p:nvSpPr>
        <p:spPr bwMode="gray">
          <a:xfrm>
            <a:off x="5437188" y="39385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3" name="Oval 108"/>
          <p:cNvSpPr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5861050" y="379571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4" name="Oval 109"/>
          <p:cNvSpPr>
            <a:spLocks noChangeArrowheads="1"/>
          </p:cNvSpPr>
          <p:nvPr>
            <p:custDataLst>
              <p:tags r:id="rId99"/>
            </p:custDataLst>
          </p:nvPr>
        </p:nvSpPr>
        <p:spPr bwMode="gray">
          <a:xfrm>
            <a:off x="6122988" y="49339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5" name="Oval 113"/>
          <p:cNvSpPr>
            <a:spLocks noChangeArrowheads="1"/>
          </p:cNvSpPr>
          <p:nvPr>
            <p:custDataLst>
              <p:tags r:id="rId100"/>
            </p:custDataLst>
          </p:nvPr>
        </p:nvSpPr>
        <p:spPr bwMode="gray">
          <a:xfrm>
            <a:off x="4394200" y="330041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6" name="Oval 114"/>
          <p:cNvSpPr>
            <a:spLocks noChangeArrowheads="1"/>
          </p:cNvSpPr>
          <p:nvPr>
            <p:custDataLst>
              <p:tags r:id="rId101"/>
            </p:custDataLst>
          </p:nvPr>
        </p:nvSpPr>
        <p:spPr bwMode="gray">
          <a:xfrm>
            <a:off x="4213225" y="350043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7" name="Oval 115"/>
          <p:cNvSpPr>
            <a:spLocks noChangeArrowheads="1"/>
          </p:cNvSpPr>
          <p:nvPr>
            <p:custDataLst>
              <p:tags r:id="rId102"/>
            </p:custDataLst>
          </p:nvPr>
        </p:nvSpPr>
        <p:spPr bwMode="gray">
          <a:xfrm>
            <a:off x="4589463" y="42814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8" name="Oval 116"/>
          <p:cNvSpPr>
            <a:spLocks noChangeArrowheads="1"/>
          </p:cNvSpPr>
          <p:nvPr>
            <p:custDataLst>
              <p:tags r:id="rId103"/>
            </p:custDataLst>
          </p:nvPr>
        </p:nvSpPr>
        <p:spPr bwMode="gray">
          <a:xfrm>
            <a:off x="4699000" y="43624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499" name="Oval 117"/>
          <p:cNvSpPr>
            <a:spLocks noChangeArrowheads="1"/>
          </p:cNvSpPr>
          <p:nvPr>
            <p:custDataLst>
              <p:tags r:id="rId104"/>
            </p:custDataLst>
          </p:nvPr>
        </p:nvSpPr>
        <p:spPr bwMode="gray">
          <a:xfrm>
            <a:off x="4589463" y="457200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0" name="Oval 121"/>
          <p:cNvSpPr>
            <a:spLocks noChangeArrowheads="1"/>
          </p:cNvSpPr>
          <p:nvPr>
            <p:custDataLst>
              <p:tags r:id="rId105"/>
            </p:custDataLst>
          </p:nvPr>
        </p:nvSpPr>
        <p:spPr bwMode="gray">
          <a:xfrm>
            <a:off x="4208463" y="4391025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1" name="Oval 122"/>
          <p:cNvSpPr>
            <a:spLocks noChangeArrowheads="1"/>
          </p:cNvSpPr>
          <p:nvPr>
            <p:custDataLst>
              <p:tags r:id="rId106"/>
            </p:custDataLst>
          </p:nvPr>
        </p:nvSpPr>
        <p:spPr bwMode="gray">
          <a:xfrm>
            <a:off x="3860800" y="42433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2" name="Oval 123"/>
          <p:cNvSpPr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3860800" y="4086225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3" name="Oval 124"/>
          <p:cNvSpPr>
            <a:spLocks noChangeArrowheads="1"/>
          </p:cNvSpPr>
          <p:nvPr>
            <p:custDataLst>
              <p:tags r:id="rId108"/>
            </p:custDataLst>
          </p:nvPr>
        </p:nvSpPr>
        <p:spPr bwMode="gray">
          <a:xfrm>
            <a:off x="3703638" y="42433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4" name="Oval 125"/>
          <p:cNvSpPr>
            <a:spLocks noChangeArrowheads="1"/>
          </p:cNvSpPr>
          <p:nvPr>
            <p:custDataLst>
              <p:tags r:id="rId109"/>
            </p:custDataLst>
          </p:nvPr>
        </p:nvSpPr>
        <p:spPr bwMode="gray">
          <a:xfrm>
            <a:off x="3527425" y="42433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5" name="Oval 126"/>
          <p:cNvSpPr>
            <a:spLocks noChangeArrowheads="1"/>
          </p:cNvSpPr>
          <p:nvPr>
            <p:custDataLst>
              <p:tags r:id="rId110"/>
            </p:custDataLst>
          </p:nvPr>
        </p:nvSpPr>
        <p:spPr bwMode="gray">
          <a:xfrm>
            <a:off x="3417888" y="429101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6" name="Oval 127"/>
          <p:cNvSpPr>
            <a:spLocks noChangeArrowheads="1"/>
          </p:cNvSpPr>
          <p:nvPr>
            <p:custDataLst>
              <p:tags r:id="rId111"/>
            </p:custDataLst>
          </p:nvPr>
        </p:nvSpPr>
        <p:spPr bwMode="gray">
          <a:xfrm>
            <a:off x="3389313" y="43957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7" name="Oval 128"/>
          <p:cNvSpPr>
            <a:spLocks noChangeArrowheads="1"/>
          </p:cNvSpPr>
          <p:nvPr>
            <p:custDataLst>
              <p:tags r:id="rId112"/>
            </p:custDataLst>
          </p:nvPr>
        </p:nvSpPr>
        <p:spPr bwMode="gray">
          <a:xfrm>
            <a:off x="3441700" y="449580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8" name="Oval 129"/>
          <p:cNvSpPr>
            <a:spLocks noChangeArrowheads="1"/>
          </p:cNvSpPr>
          <p:nvPr>
            <p:custDataLst>
              <p:tags r:id="rId113"/>
            </p:custDataLst>
          </p:nvPr>
        </p:nvSpPr>
        <p:spPr bwMode="gray">
          <a:xfrm>
            <a:off x="3517900" y="40195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09" name="Oval 130"/>
          <p:cNvSpPr>
            <a:spLocks noChangeArrowheads="1"/>
          </p:cNvSpPr>
          <p:nvPr>
            <p:custDataLst>
              <p:tags r:id="rId114"/>
            </p:custDataLst>
          </p:nvPr>
        </p:nvSpPr>
        <p:spPr bwMode="gray">
          <a:xfrm>
            <a:off x="3675063" y="37909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0" name="Oval 131"/>
          <p:cNvSpPr>
            <a:spLocks noChangeArrowheads="1"/>
          </p:cNvSpPr>
          <p:nvPr>
            <p:custDataLst>
              <p:tags r:id="rId115"/>
            </p:custDataLst>
          </p:nvPr>
        </p:nvSpPr>
        <p:spPr bwMode="gray">
          <a:xfrm>
            <a:off x="3560763" y="37099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1" name="Oval 132"/>
          <p:cNvSpPr>
            <a:spLocks noChangeArrowheads="1"/>
          </p:cNvSpPr>
          <p:nvPr>
            <p:custDataLst>
              <p:tags r:id="rId116"/>
            </p:custDataLst>
          </p:nvPr>
        </p:nvSpPr>
        <p:spPr bwMode="gray">
          <a:xfrm>
            <a:off x="3475038" y="350996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2" name="Oval 133"/>
          <p:cNvSpPr>
            <a:spLocks noChangeArrowheads="1"/>
          </p:cNvSpPr>
          <p:nvPr>
            <p:custDataLst>
              <p:tags r:id="rId117"/>
            </p:custDataLst>
          </p:nvPr>
        </p:nvSpPr>
        <p:spPr bwMode="gray">
          <a:xfrm>
            <a:off x="3565525" y="330041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3" name="Oval 137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3870325" y="323850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4" name="Oval 183"/>
          <p:cNvSpPr>
            <a:spLocks noChangeArrowheads="1"/>
          </p:cNvSpPr>
          <p:nvPr>
            <p:custDataLst>
              <p:tags r:id="rId119"/>
            </p:custDataLst>
          </p:nvPr>
        </p:nvSpPr>
        <p:spPr bwMode="gray">
          <a:xfrm>
            <a:off x="3322638" y="346710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5" name="Oval 184"/>
          <p:cNvSpPr>
            <a:spLocks noChangeArrowheads="1"/>
          </p:cNvSpPr>
          <p:nvPr>
            <p:custDataLst>
              <p:tags r:id="rId120"/>
            </p:custDataLst>
          </p:nvPr>
        </p:nvSpPr>
        <p:spPr bwMode="gray">
          <a:xfrm>
            <a:off x="3179763" y="343376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6" name="Oval 185"/>
          <p:cNvSpPr>
            <a:spLocks noChangeArrowheads="1"/>
          </p:cNvSpPr>
          <p:nvPr>
            <p:custDataLst>
              <p:tags r:id="rId121"/>
            </p:custDataLst>
          </p:nvPr>
        </p:nvSpPr>
        <p:spPr bwMode="gray">
          <a:xfrm>
            <a:off x="3108325" y="33718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7" name="Oval 134"/>
          <p:cNvSpPr>
            <a:spLocks noChangeArrowheads="1"/>
          </p:cNvSpPr>
          <p:nvPr>
            <p:custDataLst>
              <p:tags r:id="rId122"/>
            </p:custDataLst>
          </p:nvPr>
        </p:nvSpPr>
        <p:spPr bwMode="gray">
          <a:xfrm>
            <a:off x="3446463" y="322421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8" name="Oval 135"/>
          <p:cNvSpPr>
            <a:spLocks noChangeArrowheads="1"/>
          </p:cNvSpPr>
          <p:nvPr>
            <p:custDataLst>
              <p:tags r:id="rId123"/>
            </p:custDataLst>
          </p:nvPr>
        </p:nvSpPr>
        <p:spPr bwMode="gray">
          <a:xfrm>
            <a:off x="3322638" y="322421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19" name="Oval 142"/>
          <p:cNvSpPr>
            <a:spLocks noChangeArrowheads="1"/>
          </p:cNvSpPr>
          <p:nvPr>
            <p:custDataLst>
              <p:tags r:id="rId124"/>
            </p:custDataLst>
          </p:nvPr>
        </p:nvSpPr>
        <p:spPr bwMode="gray">
          <a:xfrm>
            <a:off x="3556000" y="27193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20" name="Oval 143"/>
          <p:cNvSpPr>
            <a:spLocks noChangeArrowheads="1"/>
          </p:cNvSpPr>
          <p:nvPr>
            <p:custDataLst>
              <p:tags r:id="rId125"/>
            </p:custDataLst>
          </p:nvPr>
        </p:nvSpPr>
        <p:spPr bwMode="gray">
          <a:xfrm>
            <a:off x="3636963" y="262413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21" name="Oval 144"/>
          <p:cNvSpPr>
            <a:spLocks noChangeArrowheads="1"/>
          </p:cNvSpPr>
          <p:nvPr>
            <p:custDataLst>
              <p:tags r:id="rId126"/>
            </p:custDataLst>
          </p:nvPr>
        </p:nvSpPr>
        <p:spPr bwMode="gray">
          <a:xfrm>
            <a:off x="3741738" y="19573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22" name="Oval 145"/>
          <p:cNvSpPr>
            <a:spLocks noChangeArrowheads="1"/>
          </p:cNvSpPr>
          <p:nvPr>
            <p:custDataLst>
              <p:tags r:id="rId127"/>
            </p:custDataLst>
          </p:nvPr>
        </p:nvSpPr>
        <p:spPr bwMode="gray">
          <a:xfrm>
            <a:off x="3060700" y="155733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23" name="Rectangle 222"/>
          <p:cNvSpPr>
            <a:spLocks noChangeArrowheads="1"/>
          </p:cNvSpPr>
          <p:nvPr>
            <p:custDataLst>
              <p:tags r:id="rId128"/>
            </p:custDataLst>
          </p:nvPr>
        </p:nvSpPr>
        <p:spPr bwMode="auto">
          <a:xfrm>
            <a:off x="3144838" y="1509713"/>
            <a:ext cx="43815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Lokichoggio </a:t>
            </a:r>
          </a:p>
        </p:txBody>
      </p:sp>
      <p:sp>
        <p:nvSpPr>
          <p:cNvPr id="16524" name="Rectangle 223"/>
          <p:cNvSpPr>
            <a:spLocks noChangeArrowheads="1"/>
          </p:cNvSpPr>
          <p:nvPr>
            <p:custDataLst>
              <p:tags r:id="rId129"/>
            </p:custDataLst>
          </p:nvPr>
        </p:nvSpPr>
        <p:spPr bwMode="auto">
          <a:xfrm>
            <a:off x="3816351" y="1931988"/>
            <a:ext cx="258763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Lodwar </a:t>
            </a:r>
          </a:p>
        </p:txBody>
      </p:sp>
      <p:sp>
        <p:nvSpPr>
          <p:cNvPr id="16525" name="Rectangle 224"/>
          <p:cNvSpPr>
            <a:spLocks noChangeArrowheads="1"/>
          </p:cNvSpPr>
          <p:nvPr>
            <p:custDataLst>
              <p:tags r:id="rId130"/>
            </p:custDataLst>
          </p:nvPr>
        </p:nvSpPr>
        <p:spPr bwMode="auto">
          <a:xfrm>
            <a:off x="3660776" y="2678113"/>
            <a:ext cx="258763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Kitale  </a:t>
            </a:r>
          </a:p>
        </p:txBody>
      </p:sp>
      <p:sp>
        <p:nvSpPr>
          <p:cNvPr id="16526" name="Rectangle 225"/>
          <p:cNvSpPr>
            <a:spLocks noChangeArrowheads="1"/>
          </p:cNvSpPr>
          <p:nvPr>
            <p:custDataLst>
              <p:tags r:id="rId131"/>
            </p:custDataLst>
          </p:nvPr>
        </p:nvSpPr>
        <p:spPr bwMode="auto">
          <a:xfrm>
            <a:off x="3421063" y="3148013"/>
            <a:ext cx="315912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Weybuye   </a:t>
            </a:r>
          </a:p>
        </p:txBody>
      </p:sp>
      <p:sp>
        <p:nvSpPr>
          <p:cNvPr id="16527" name="Rectangle 226"/>
          <p:cNvSpPr>
            <a:spLocks noChangeArrowheads="1"/>
          </p:cNvSpPr>
          <p:nvPr>
            <p:custDataLst>
              <p:tags r:id="rId132"/>
            </p:custDataLst>
          </p:nvPr>
        </p:nvSpPr>
        <p:spPr bwMode="auto">
          <a:xfrm>
            <a:off x="3287713" y="3132138"/>
            <a:ext cx="176212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__   </a:t>
            </a:r>
          </a:p>
        </p:txBody>
      </p:sp>
      <p:sp>
        <p:nvSpPr>
          <p:cNvPr id="16528" name="Rectangle 227"/>
          <p:cNvSpPr>
            <a:spLocks noChangeArrowheads="1"/>
          </p:cNvSpPr>
          <p:nvPr>
            <p:custDataLst>
              <p:tags r:id="rId133"/>
            </p:custDataLst>
          </p:nvPr>
        </p:nvSpPr>
        <p:spPr bwMode="auto">
          <a:xfrm>
            <a:off x="3627438" y="3348038"/>
            <a:ext cx="31591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Kakamega    </a:t>
            </a:r>
          </a:p>
        </p:txBody>
      </p:sp>
      <p:sp>
        <p:nvSpPr>
          <p:cNvPr id="16529" name="Rectangle 228"/>
          <p:cNvSpPr>
            <a:spLocks noChangeArrowheads="1"/>
          </p:cNvSpPr>
          <p:nvPr>
            <p:custDataLst>
              <p:tags r:id="rId134"/>
            </p:custDataLst>
          </p:nvPr>
        </p:nvSpPr>
        <p:spPr bwMode="auto">
          <a:xfrm>
            <a:off x="3922713" y="3176588"/>
            <a:ext cx="315912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Eldoret     </a:t>
            </a:r>
          </a:p>
        </p:txBody>
      </p:sp>
      <p:sp>
        <p:nvSpPr>
          <p:cNvPr id="16530" name="Rectangle 229"/>
          <p:cNvSpPr>
            <a:spLocks noChangeArrowheads="1"/>
          </p:cNvSpPr>
          <p:nvPr>
            <p:custDataLst>
              <p:tags r:id="rId135"/>
            </p:custDataLst>
          </p:nvPr>
        </p:nvSpPr>
        <p:spPr bwMode="auto">
          <a:xfrm>
            <a:off x="3627438" y="3671888"/>
            <a:ext cx="315912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Kisumu     </a:t>
            </a:r>
          </a:p>
        </p:txBody>
      </p:sp>
      <p:sp>
        <p:nvSpPr>
          <p:cNvPr id="16531" name="Rectangle 230"/>
          <p:cNvSpPr>
            <a:spLocks noChangeArrowheads="1"/>
          </p:cNvSpPr>
          <p:nvPr>
            <p:custDataLst>
              <p:tags r:id="rId136"/>
            </p:custDataLst>
          </p:nvPr>
        </p:nvSpPr>
        <p:spPr bwMode="auto">
          <a:xfrm>
            <a:off x="3575050" y="4121150"/>
            <a:ext cx="1524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Kisii      </a:t>
            </a:r>
          </a:p>
        </p:txBody>
      </p:sp>
      <p:sp>
        <p:nvSpPr>
          <p:cNvPr id="16532" name="Rectangle 231"/>
          <p:cNvSpPr>
            <a:spLocks noChangeArrowheads="1"/>
          </p:cNvSpPr>
          <p:nvPr>
            <p:custDataLst>
              <p:tags r:id="rId137"/>
            </p:custDataLst>
          </p:nvPr>
        </p:nvSpPr>
        <p:spPr bwMode="auto">
          <a:xfrm>
            <a:off x="3922713" y="4059238"/>
            <a:ext cx="315912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Kericho      </a:t>
            </a:r>
          </a:p>
        </p:txBody>
      </p:sp>
      <p:sp>
        <p:nvSpPr>
          <p:cNvPr id="16533" name="Rectangle 232"/>
          <p:cNvSpPr>
            <a:spLocks noChangeArrowheads="1"/>
          </p:cNvSpPr>
          <p:nvPr>
            <p:custDataLst>
              <p:tags r:id="rId138"/>
            </p:custDataLst>
          </p:nvPr>
        </p:nvSpPr>
        <p:spPr bwMode="auto">
          <a:xfrm>
            <a:off x="3922713" y="4192588"/>
            <a:ext cx="315912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Bomet       </a:t>
            </a:r>
          </a:p>
        </p:txBody>
      </p:sp>
      <p:sp>
        <p:nvSpPr>
          <p:cNvPr id="16534" name="Rectangle 233"/>
          <p:cNvSpPr>
            <a:spLocks noChangeArrowheads="1"/>
          </p:cNvSpPr>
          <p:nvPr>
            <p:custDataLst>
              <p:tags r:id="rId139"/>
            </p:custDataLst>
          </p:nvPr>
        </p:nvSpPr>
        <p:spPr bwMode="auto">
          <a:xfrm>
            <a:off x="4198939" y="4456113"/>
            <a:ext cx="198437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Narok        </a:t>
            </a:r>
          </a:p>
        </p:txBody>
      </p:sp>
      <p:sp>
        <p:nvSpPr>
          <p:cNvPr id="16535" name="Rectangle 234"/>
          <p:cNvSpPr>
            <a:spLocks noChangeArrowheads="1"/>
          </p:cNvSpPr>
          <p:nvPr>
            <p:custDataLst>
              <p:tags r:id="rId140"/>
            </p:custDataLst>
          </p:nvPr>
        </p:nvSpPr>
        <p:spPr bwMode="auto">
          <a:xfrm>
            <a:off x="3209925" y="4264025"/>
            <a:ext cx="18573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Rongo       </a:t>
            </a:r>
          </a:p>
        </p:txBody>
      </p:sp>
      <p:sp>
        <p:nvSpPr>
          <p:cNvPr id="16536" name="Rectangle 235"/>
          <p:cNvSpPr>
            <a:spLocks noChangeArrowheads="1"/>
          </p:cNvSpPr>
          <p:nvPr>
            <p:custDataLst>
              <p:tags r:id="rId141"/>
            </p:custDataLst>
          </p:nvPr>
        </p:nvSpPr>
        <p:spPr bwMode="auto">
          <a:xfrm>
            <a:off x="3509963" y="4470400"/>
            <a:ext cx="303212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Isebania        </a:t>
            </a:r>
          </a:p>
        </p:txBody>
      </p:sp>
      <p:sp>
        <p:nvSpPr>
          <p:cNvPr id="173" name="Rectangle 236"/>
          <p:cNvSpPr>
            <a:spLocks noChangeArrowheads="1"/>
          </p:cNvSpPr>
          <p:nvPr>
            <p:custDataLst>
              <p:tags r:id="rId142"/>
            </p:custDataLst>
          </p:nvPr>
        </p:nvSpPr>
        <p:spPr bwMode="auto">
          <a:xfrm>
            <a:off x="4672013" y="4246563"/>
            <a:ext cx="266700" cy="762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airobi         </a:t>
            </a:r>
          </a:p>
        </p:txBody>
      </p:sp>
      <p:sp>
        <p:nvSpPr>
          <p:cNvPr id="16538" name="Rectangle 237"/>
          <p:cNvSpPr>
            <a:spLocks noChangeArrowheads="1"/>
          </p:cNvSpPr>
          <p:nvPr>
            <p:custDataLst>
              <p:tags r:id="rId143"/>
            </p:custDataLst>
          </p:nvPr>
        </p:nvSpPr>
        <p:spPr bwMode="auto">
          <a:xfrm>
            <a:off x="4686300" y="4481513"/>
            <a:ext cx="4953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Kaljiado          </a:t>
            </a:r>
          </a:p>
        </p:txBody>
      </p:sp>
      <p:sp>
        <p:nvSpPr>
          <p:cNvPr id="16539" name="Rectangle 238"/>
          <p:cNvSpPr>
            <a:spLocks noChangeArrowheads="1"/>
          </p:cNvSpPr>
          <p:nvPr>
            <p:custDataLst>
              <p:tags r:id="rId144"/>
            </p:custDataLst>
          </p:nvPr>
        </p:nvSpPr>
        <p:spPr bwMode="auto">
          <a:xfrm>
            <a:off x="4667251" y="5126038"/>
            <a:ext cx="303213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Namanga         </a:t>
            </a:r>
          </a:p>
        </p:txBody>
      </p:sp>
      <p:sp>
        <p:nvSpPr>
          <p:cNvPr id="16540" name="Oval 118"/>
          <p:cNvSpPr>
            <a:spLocks noChangeArrowheads="1"/>
          </p:cNvSpPr>
          <p:nvPr>
            <p:custDataLst>
              <p:tags r:id="rId145"/>
            </p:custDataLst>
          </p:nvPr>
        </p:nvSpPr>
        <p:spPr bwMode="gray">
          <a:xfrm>
            <a:off x="4589463" y="513873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41" name="Rectangle 239"/>
          <p:cNvSpPr>
            <a:spLocks noChangeArrowheads="1"/>
          </p:cNvSpPr>
          <p:nvPr>
            <p:custDataLst>
              <p:tags r:id="rId146"/>
            </p:custDataLst>
          </p:nvPr>
        </p:nvSpPr>
        <p:spPr bwMode="auto">
          <a:xfrm>
            <a:off x="5110163" y="4140200"/>
            <a:ext cx="131762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Tala          </a:t>
            </a:r>
          </a:p>
        </p:txBody>
      </p:sp>
      <p:sp>
        <p:nvSpPr>
          <p:cNvPr id="16542" name="Rectangle 240"/>
          <p:cNvSpPr>
            <a:spLocks noChangeArrowheads="1"/>
          </p:cNvSpPr>
          <p:nvPr>
            <p:custDataLst>
              <p:tags r:id="rId147"/>
            </p:custDataLst>
          </p:nvPr>
        </p:nvSpPr>
        <p:spPr bwMode="auto">
          <a:xfrm>
            <a:off x="5502276" y="4140200"/>
            <a:ext cx="288925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Kitui           </a:t>
            </a:r>
          </a:p>
        </p:txBody>
      </p:sp>
      <p:sp>
        <p:nvSpPr>
          <p:cNvPr id="16543" name="Rectangle 241"/>
          <p:cNvSpPr>
            <a:spLocks noChangeArrowheads="1"/>
          </p:cNvSpPr>
          <p:nvPr>
            <p:custDataLst>
              <p:tags r:id="rId148"/>
            </p:custDataLst>
          </p:nvPr>
        </p:nvSpPr>
        <p:spPr bwMode="auto">
          <a:xfrm>
            <a:off x="5168900" y="3937000"/>
            <a:ext cx="204788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Makau            </a:t>
            </a:r>
          </a:p>
        </p:txBody>
      </p:sp>
      <p:sp>
        <p:nvSpPr>
          <p:cNvPr id="16544" name="Rectangle 242"/>
          <p:cNvSpPr>
            <a:spLocks noChangeArrowheads="1"/>
          </p:cNvSpPr>
          <p:nvPr>
            <p:custDataLst>
              <p:tags r:id="rId149"/>
            </p:custDataLst>
          </p:nvPr>
        </p:nvSpPr>
        <p:spPr bwMode="auto">
          <a:xfrm>
            <a:off x="5508625" y="3937000"/>
            <a:ext cx="2286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Mwingi             </a:t>
            </a:r>
          </a:p>
        </p:txBody>
      </p:sp>
      <p:sp>
        <p:nvSpPr>
          <p:cNvPr id="16545" name="Rectangle 243"/>
          <p:cNvSpPr>
            <a:spLocks noChangeArrowheads="1"/>
          </p:cNvSpPr>
          <p:nvPr>
            <p:custDataLst>
              <p:tags r:id="rId150"/>
            </p:custDataLst>
          </p:nvPr>
        </p:nvSpPr>
        <p:spPr bwMode="auto">
          <a:xfrm>
            <a:off x="5927725" y="3775075"/>
            <a:ext cx="2286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Garissa              </a:t>
            </a:r>
          </a:p>
        </p:txBody>
      </p:sp>
      <p:sp>
        <p:nvSpPr>
          <p:cNvPr id="16546" name="Rectangle 244"/>
          <p:cNvSpPr>
            <a:spLocks noChangeArrowheads="1"/>
          </p:cNvSpPr>
          <p:nvPr>
            <p:custDataLst>
              <p:tags r:id="rId151"/>
            </p:custDataLst>
          </p:nvPr>
        </p:nvSpPr>
        <p:spPr bwMode="auto">
          <a:xfrm>
            <a:off x="6161088" y="4829175"/>
            <a:ext cx="2286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Garsen               </a:t>
            </a:r>
          </a:p>
        </p:txBody>
      </p:sp>
      <p:sp>
        <p:nvSpPr>
          <p:cNvPr id="16547" name="Rectangle 245"/>
          <p:cNvSpPr>
            <a:spLocks noChangeArrowheads="1"/>
          </p:cNvSpPr>
          <p:nvPr>
            <p:custDataLst>
              <p:tags r:id="rId152"/>
            </p:custDataLst>
          </p:nvPr>
        </p:nvSpPr>
        <p:spPr bwMode="auto">
          <a:xfrm>
            <a:off x="4937125" y="3937000"/>
            <a:ext cx="204788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Thika             </a:t>
            </a:r>
          </a:p>
        </p:txBody>
      </p:sp>
      <p:sp>
        <p:nvSpPr>
          <p:cNvPr id="16548" name="Rectangle 246"/>
          <p:cNvSpPr>
            <a:spLocks noChangeArrowheads="1"/>
          </p:cNvSpPr>
          <p:nvPr>
            <p:custDataLst>
              <p:tags r:id="rId153"/>
            </p:custDataLst>
          </p:nvPr>
        </p:nvSpPr>
        <p:spPr bwMode="auto">
          <a:xfrm>
            <a:off x="4940301" y="3778250"/>
            <a:ext cx="290513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Muranga              </a:t>
            </a:r>
          </a:p>
        </p:txBody>
      </p:sp>
      <p:sp>
        <p:nvSpPr>
          <p:cNvPr id="16549" name="Rectangle 247"/>
          <p:cNvSpPr>
            <a:spLocks noChangeArrowheads="1"/>
          </p:cNvSpPr>
          <p:nvPr>
            <p:custDataLst>
              <p:tags r:id="rId154"/>
            </p:custDataLst>
          </p:nvPr>
        </p:nvSpPr>
        <p:spPr bwMode="auto">
          <a:xfrm>
            <a:off x="4810125" y="3498850"/>
            <a:ext cx="166688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Nyeri               </a:t>
            </a:r>
          </a:p>
        </p:txBody>
      </p:sp>
      <p:sp>
        <p:nvSpPr>
          <p:cNvPr id="16550" name="Rectangle 248"/>
          <p:cNvSpPr>
            <a:spLocks noChangeArrowheads="1"/>
          </p:cNvSpPr>
          <p:nvPr>
            <p:custDataLst>
              <p:tags r:id="rId155"/>
            </p:custDataLst>
          </p:nvPr>
        </p:nvSpPr>
        <p:spPr bwMode="auto">
          <a:xfrm>
            <a:off x="5149850" y="3616325"/>
            <a:ext cx="1666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Embu                </a:t>
            </a:r>
          </a:p>
        </p:txBody>
      </p:sp>
      <p:sp>
        <p:nvSpPr>
          <p:cNvPr id="16551" name="Rectangle 249"/>
          <p:cNvSpPr>
            <a:spLocks noChangeArrowheads="1"/>
          </p:cNvSpPr>
          <p:nvPr>
            <p:custDataLst>
              <p:tags r:id="rId156"/>
            </p:custDataLst>
          </p:nvPr>
        </p:nvSpPr>
        <p:spPr bwMode="auto">
          <a:xfrm>
            <a:off x="5202239" y="3379788"/>
            <a:ext cx="166687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Meru                 </a:t>
            </a:r>
          </a:p>
        </p:txBody>
      </p:sp>
      <p:sp>
        <p:nvSpPr>
          <p:cNvPr id="16552" name="Rectangle 250"/>
          <p:cNvSpPr>
            <a:spLocks noChangeArrowheads="1"/>
          </p:cNvSpPr>
          <p:nvPr>
            <p:custDataLst>
              <p:tags r:id="rId157"/>
            </p:custDataLst>
          </p:nvPr>
        </p:nvSpPr>
        <p:spPr bwMode="auto">
          <a:xfrm>
            <a:off x="4802189" y="3263900"/>
            <a:ext cx="257175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Nanyuki                  </a:t>
            </a:r>
          </a:p>
        </p:txBody>
      </p:sp>
      <p:sp>
        <p:nvSpPr>
          <p:cNvPr id="16553" name="Rectangle 251"/>
          <p:cNvSpPr>
            <a:spLocks noChangeArrowheads="1"/>
          </p:cNvSpPr>
          <p:nvPr>
            <p:custDataLst>
              <p:tags r:id="rId158"/>
            </p:custDataLst>
          </p:nvPr>
        </p:nvSpPr>
        <p:spPr bwMode="auto">
          <a:xfrm>
            <a:off x="4271964" y="3208338"/>
            <a:ext cx="471487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Nyahururu                   </a:t>
            </a:r>
          </a:p>
        </p:txBody>
      </p:sp>
      <p:sp>
        <p:nvSpPr>
          <p:cNvPr id="16554" name="Rectangle 252"/>
          <p:cNvSpPr>
            <a:spLocks noChangeArrowheads="1"/>
          </p:cNvSpPr>
          <p:nvPr>
            <p:custDataLst>
              <p:tags r:id="rId159"/>
            </p:custDataLst>
          </p:nvPr>
        </p:nvSpPr>
        <p:spPr bwMode="auto">
          <a:xfrm>
            <a:off x="4271963" y="3489325"/>
            <a:ext cx="2286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Nakuru                    </a:t>
            </a:r>
          </a:p>
        </p:txBody>
      </p:sp>
      <p:sp>
        <p:nvSpPr>
          <p:cNvPr id="16555" name="Rectangle 253"/>
          <p:cNvSpPr>
            <a:spLocks noChangeArrowheads="1"/>
          </p:cNvSpPr>
          <p:nvPr>
            <p:custDataLst>
              <p:tags r:id="rId160"/>
            </p:custDataLst>
          </p:nvPr>
        </p:nvSpPr>
        <p:spPr bwMode="auto">
          <a:xfrm>
            <a:off x="5151439" y="3249613"/>
            <a:ext cx="166687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Isielo                  </a:t>
            </a:r>
          </a:p>
        </p:txBody>
      </p:sp>
      <p:sp>
        <p:nvSpPr>
          <p:cNvPr id="16556" name="Rectangle 254"/>
          <p:cNvSpPr>
            <a:spLocks noChangeArrowheads="1"/>
          </p:cNvSpPr>
          <p:nvPr>
            <p:custDataLst>
              <p:tags r:id="rId161"/>
            </p:custDataLst>
          </p:nvPr>
        </p:nvSpPr>
        <p:spPr bwMode="auto">
          <a:xfrm>
            <a:off x="6153151" y="2640013"/>
            <a:ext cx="257175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Wajiir                   </a:t>
            </a:r>
          </a:p>
        </p:txBody>
      </p:sp>
      <p:sp>
        <p:nvSpPr>
          <p:cNvPr id="16557" name="Rectangle 255"/>
          <p:cNvSpPr>
            <a:spLocks noChangeArrowheads="1"/>
          </p:cNvSpPr>
          <p:nvPr>
            <p:custDataLst>
              <p:tags r:id="rId162"/>
            </p:custDataLst>
          </p:nvPr>
        </p:nvSpPr>
        <p:spPr bwMode="auto">
          <a:xfrm>
            <a:off x="5316539" y="2524125"/>
            <a:ext cx="25717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Marsabit                    </a:t>
            </a:r>
          </a:p>
        </p:txBody>
      </p:sp>
      <p:sp>
        <p:nvSpPr>
          <p:cNvPr id="16558" name="Rectangle 256"/>
          <p:cNvSpPr>
            <a:spLocks noChangeArrowheads="1"/>
          </p:cNvSpPr>
          <p:nvPr>
            <p:custDataLst>
              <p:tags r:id="rId163"/>
            </p:custDataLst>
          </p:nvPr>
        </p:nvSpPr>
        <p:spPr bwMode="auto">
          <a:xfrm>
            <a:off x="5626101" y="1978025"/>
            <a:ext cx="257175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Moyale                     </a:t>
            </a:r>
          </a:p>
        </p:txBody>
      </p:sp>
      <p:sp>
        <p:nvSpPr>
          <p:cNvPr id="16559" name="Rectangle 257"/>
          <p:cNvSpPr>
            <a:spLocks noChangeArrowheads="1"/>
          </p:cNvSpPr>
          <p:nvPr>
            <p:custDataLst>
              <p:tags r:id="rId164"/>
            </p:custDataLst>
          </p:nvPr>
        </p:nvSpPr>
        <p:spPr bwMode="auto">
          <a:xfrm>
            <a:off x="6864351" y="1597025"/>
            <a:ext cx="25717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Mandera                      </a:t>
            </a:r>
          </a:p>
        </p:txBody>
      </p:sp>
      <p:cxnSp>
        <p:nvCxnSpPr>
          <p:cNvPr id="16560" name="AutoShape 260"/>
          <p:cNvCxnSpPr>
            <a:cxnSpLocks noChangeShapeType="1"/>
            <a:stCxn id="16512" idx="1"/>
            <a:endCxn id="16517" idx="6"/>
          </p:cNvCxnSpPr>
          <p:nvPr>
            <p:custDataLst>
              <p:tags r:id="rId165"/>
            </p:custDataLst>
          </p:nvPr>
        </p:nvCxnSpPr>
        <p:spPr bwMode="auto">
          <a:xfrm flipH="1" flipV="1">
            <a:off x="3490913" y="3246439"/>
            <a:ext cx="80962" cy="6032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6561" name="AutoShape 261"/>
          <p:cNvCxnSpPr>
            <a:cxnSpLocks noChangeShapeType="1"/>
            <a:stCxn id="16517" idx="2"/>
            <a:endCxn id="16518" idx="6"/>
          </p:cNvCxnSpPr>
          <p:nvPr>
            <p:custDataLst>
              <p:tags r:id="rId166"/>
            </p:custDataLst>
          </p:nvPr>
        </p:nvCxnSpPr>
        <p:spPr bwMode="auto">
          <a:xfrm flipH="1">
            <a:off x="3367089" y="3246438"/>
            <a:ext cx="7937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16562" name="Rectangle 262"/>
          <p:cNvSpPr>
            <a:spLocks noChangeArrowheads="1"/>
          </p:cNvSpPr>
          <p:nvPr>
            <p:custDataLst>
              <p:tags r:id="rId167"/>
            </p:custDataLst>
          </p:nvPr>
        </p:nvSpPr>
        <p:spPr bwMode="auto">
          <a:xfrm rot="-4816978">
            <a:off x="3531394" y="2245519"/>
            <a:ext cx="258762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577  </a:t>
            </a:r>
          </a:p>
        </p:txBody>
      </p:sp>
      <p:sp>
        <p:nvSpPr>
          <p:cNvPr id="16563" name="Rectangle 263"/>
          <p:cNvSpPr>
            <a:spLocks noChangeArrowheads="1"/>
          </p:cNvSpPr>
          <p:nvPr>
            <p:custDataLst>
              <p:tags r:id="rId168"/>
            </p:custDataLst>
          </p:nvPr>
        </p:nvSpPr>
        <p:spPr bwMode="auto">
          <a:xfrm rot="706098">
            <a:off x="3203575" y="3456831"/>
            <a:ext cx="114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129  </a:t>
            </a:r>
          </a:p>
        </p:txBody>
      </p:sp>
      <p:sp>
        <p:nvSpPr>
          <p:cNvPr id="16564" name="Rectangle 264"/>
          <p:cNvSpPr>
            <a:spLocks noChangeArrowheads="1"/>
          </p:cNvSpPr>
          <p:nvPr>
            <p:custDataLst>
              <p:tags r:id="rId169"/>
            </p:custDataLst>
          </p:nvPr>
        </p:nvSpPr>
        <p:spPr bwMode="auto">
          <a:xfrm rot="-4693902">
            <a:off x="3419475" y="4321175"/>
            <a:ext cx="1143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82  </a:t>
            </a:r>
          </a:p>
        </p:txBody>
      </p:sp>
      <p:sp>
        <p:nvSpPr>
          <p:cNvPr id="16565" name="Rectangle 265"/>
          <p:cNvSpPr>
            <a:spLocks noChangeArrowheads="1"/>
          </p:cNvSpPr>
          <p:nvPr>
            <p:custDataLst>
              <p:tags r:id="rId170"/>
            </p:custDataLst>
          </p:nvPr>
        </p:nvSpPr>
        <p:spPr bwMode="auto">
          <a:xfrm rot="1133599">
            <a:off x="3986213" y="4302969"/>
            <a:ext cx="114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501  </a:t>
            </a:r>
          </a:p>
        </p:txBody>
      </p:sp>
      <p:sp>
        <p:nvSpPr>
          <p:cNvPr id="16566" name="Rectangle 266"/>
          <p:cNvSpPr>
            <a:spLocks noChangeArrowheads="1"/>
          </p:cNvSpPr>
          <p:nvPr>
            <p:custDataLst>
              <p:tags r:id="rId171"/>
            </p:custDataLst>
          </p:nvPr>
        </p:nvSpPr>
        <p:spPr bwMode="auto">
          <a:xfrm rot="-5400000">
            <a:off x="4492625" y="4755406"/>
            <a:ext cx="114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159</a:t>
            </a:r>
          </a:p>
        </p:txBody>
      </p:sp>
      <p:sp>
        <p:nvSpPr>
          <p:cNvPr id="16567" name="Rectangle 267"/>
          <p:cNvSpPr>
            <a:spLocks noChangeArrowheads="1"/>
          </p:cNvSpPr>
          <p:nvPr>
            <p:custDataLst>
              <p:tags r:id="rId172"/>
            </p:custDataLst>
          </p:nvPr>
        </p:nvSpPr>
        <p:spPr bwMode="auto">
          <a:xfrm rot="-563436">
            <a:off x="5205413" y="4225181"/>
            <a:ext cx="114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159</a:t>
            </a:r>
          </a:p>
        </p:txBody>
      </p:sp>
      <p:sp>
        <p:nvSpPr>
          <p:cNvPr id="16568" name="Rectangle 268"/>
          <p:cNvSpPr>
            <a:spLocks noChangeArrowheads="1"/>
          </p:cNvSpPr>
          <p:nvPr>
            <p:custDataLst>
              <p:tags r:id="rId173"/>
            </p:custDataLst>
          </p:nvPr>
        </p:nvSpPr>
        <p:spPr bwMode="auto">
          <a:xfrm rot="-563436">
            <a:off x="5595938" y="3761631"/>
            <a:ext cx="114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321</a:t>
            </a:r>
          </a:p>
        </p:txBody>
      </p:sp>
      <p:sp>
        <p:nvSpPr>
          <p:cNvPr id="16569" name="Rectangle 269"/>
          <p:cNvSpPr>
            <a:spLocks noChangeArrowheads="1"/>
          </p:cNvSpPr>
          <p:nvPr>
            <p:custDataLst>
              <p:tags r:id="rId174"/>
            </p:custDataLst>
          </p:nvPr>
        </p:nvSpPr>
        <p:spPr bwMode="auto">
          <a:xfrm rot="452215">
            <a:off x="5159375" y="3480644"/>
            <a:ext cx="114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318</a:t>
            </a:r>
          </a:p>
        </p:txBody>
      </p:sp>
      <p:sp>
        <p:nvSpPr>
          <p:cNvPr id="16570" name="Rectangle 270"/>
          <p:cNvSpPr>
            <a:spLocks noChangeArrowheads="1"/>
          </p:cNvSpPr>
          <p:nvPr>
            <p:custDataLst>
              <p:tags r:id="rId175"/>
            </p:custDataLst>
          </p:nvPr>
        </p:nvSpPr>
        <p:spPr bwMode="auto">
          <a:xfrm rot="-3504634">
            <a:off x="5410200" y="2251919"/>
            <a:ext cx="114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912</a:t>
            </a:r>
          </a:p>
        </p:txBody>
      </p:sp>
      <p:sp>
        <p:nvSpPr>
          <p:cNvPr id="16571" name="Rectangle 271"/>
          <p:cNvSpPr>
            <a:spLocks noChangeArrowheads="1"/>
          </p:cNvSpPr>
          <p:nvPr>
            <p:custDataLst>
              <p:tags r:id="rId176"/>
            </p:custDataLst>
          </p:nvPr>
        </p:nvSpPr>
        <p:spPr bwMode="auto">
          <a:xfrm>
            <a:off x="6046788" y="4338638"/>
            <a:ext cx="114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770</a:t>
            </a:r>
          </a:p>
        </p:txBody>
      </p:sp>
      <p:sp>
        <p:nvSpPr>
          <p:cNvPr id="16572" name="Rectangle 272"/>
          <p:cNvSpPr>
            <a:spLocks noChangeArrowheads="1"/>
          </p:cNvSpPr>
          <p:nvPr>
            <p:custDataLst>
              <p:tags r:id="rId177"/>
            </p:custDataLst>
          </p:nvPr>
        </p:nvSpPr>
        <p:spPr bwMode="auto">
          <a:xfrm rot="706098">
            <a:off x="3540125" y="3225800"/>
            <a:ext cx="1143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70  </a:t>
            </a:r>
          </a:p>
        </p:txBody>
      </p:sp>
      <p:sp>
        <p:nvSpPr>
          <p:cNvPr id="16573" name="Freeform 276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5865813" y="5595939"/>
            <a:ext cx="171450" cy="211137"/>
          </a:xfrm>
          <a:custGeom>
            <a:avLst/>
            <a:gdLst>
              <a:gd name="T0" fmla="*/ 0 w 108"/>
              <a:gd name="T1" fmla="*/ 2147483647 h 133"/>
              <a:gd name="T2" fmla="*/ 2147483647 w 108"/>
              <a:gd name="T3" fmla="*/ 2147483647 h 133"/>
              <a:gd name="T4" fmla="*/ 2147483647 w 108"/>
              <a:gd name="T5" fmla="*/ 0 h 133"/>
              <a:gd name="T6" fmla="*/ 0 60000 65536"/>
              <a:gd name="T7" fmla="*/ 0 60000 65536"/>
              <a:gd name="T8" fmla="*/ 0 60000 65536"/>
              <a:gd name="T9" fmla="*/ 0 w 108"/>
              <a:gd name="T10" fmla="*/ 0 h 133"/>
              <a:gd name="T11" fmla="*/ 108 w 108"/>
              <a:gd name="T12" fmla="*/ 133 h 13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8" h="133">
                <a:moveTo>
                  <a:pt x="0" y="133"/>
                </a:moveTo>
                <a:cubicBezTo>
                  <a:pt x="16" y="127"/>
                  <a:pt x="84" y="120"/>
                  <a:pt x="96" y="98"/>
                </a:cubicBezTo>
                <a:cubicBezTo>
                  <a:pt x="108" y="76"/>
                  <a:pt x="79" y="20"/>
                  <a:pt x="75" y="0"/>
                </a:cubicBezTo>
              </a:path>
            </a:pathLst>
          </a:custGeom>
          <a:noFill/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74" name="Freeform 277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5981701" y="5270501"/>
            <a:ext cx="250825" cy="314325"/>
          </a:xfrm>
          <a:custGeom>
            <a:avLst/>
            <a:gdLst>
              <a:gd name="T0" fmla="*/ 0 w 158"/>
              <a:gd name="T1" fmla="*/ 2147483647 h 198"/>
              <a:gd name="T2" fmla="*/ 2147483647 w 158"/>
              <a:gd name="T3" fmla="*/ 2147483647 h 198"/>
              <a:gd name="T4" fmla="*/ 2147483647 w 158"/>
              <a:gd name="T5" fmla="*/ 0 h 198"/>
              <a:gd name="T6" fmla="*/ 0 60000 65536"/>
              <a:gd name="T7" fmla="*/ 0 60000 65536"/>
              <a:gd name="T8" fmla="*/ 0 60000 65536"/>
              <a:gd name="T9" fmla="*/ 0 w 158"/>
              <a:gd name="T10" fmla="*/ 0 h 198"/>
              <a:gd name="T11" fmla="*/ 158 w 158"/>
              <a:gd name="T12" fmla="*/ 198 h 19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" h="198">
                <a:moveTo>
                  <a:pt x="0" y="198"/>
                </a:moveTo>
                <a:cubicBezTo>
                  <a:pt x="23" y="191"/>
                  <a:pt x="122" y="189"/>
                  <a:pt x="140" y="156"/>
                </a:cubicBezTo>
                <a:cubicBezTo>
                  <a:pt x="158" y="123"/>
                  <a:pt x="114" y="32"/>
                  <a:pt x="107" y="0"/>
                </a:cubicBezTo>
              </a:path>
            </a:pathLst>
          </a:custGeom>
          <a:noFill/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75" name="Freeform 278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6143625" y="4876801"/>
            <a:ext cx="388938" cy="390525"/>
          </a:xfrm>
          <a:custGeom>
            <a:avLst/>
            <a:gdLst>
              <a:gd name="T0" fmla="*/ 0 w 245"/>
              <a:gd name="T1" fmla="*/ 2147483647 h 246"/>
              <a:gd name="T2" fmla="*/ 2147483647 w 245"/>
              <a:gd name="T3" fmla="*/ 2147483647 h 246"/>
              <a:gd name="T4" fmla="*/ 2147483647 w 245"/>
              <a:gd name="T5" fmla="*/ 0 h 246"/>
              <a:gd name="T6" fmla="*/ 0 60000 65536"/>
              <a:gd name="T7" fmla="*/ 0 60000 65536"/>
              <a:gd name="T8" fmla="*/ 0 60000 65536"/>
              <a:gd name="T9" fmla="*/ 0 w 245"/>
              <a:gd name="T10" fmla="*/ 0 h 246"/>
              <a:gd name="T11" fmla="*/ 245 w 245"/>
              <a:gd name="T12" fmla="*/ 246 h 24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5" h="246">
                <a:moveTo>
                  <a:pt x="0" y="246"/>
                </a:moveTo>
                <a:cubicBezTo>
                  <a:pt x="34" y="237"/>
                  <a:pt x="167" y="232"/>
                  <a:pt x="206" y="191"/>
                </a:cubicBezTo>
                <a:cubicBezTo>
                  <a:pt x="245" y="150"/>
                  <a:pt x="230" y="40"/>
                  <a:pt x="236" y="0"/>
                </a:cubicBezTo>
              </a:path>
            </a:pathLst>
          </a:custGeom>
          <a:noFill/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76" name="Rectangle 279"/>
          <p:cNvSpPr>
            <a:spLocks noChangeArrowheads="1"/>
          </p:cNvSpPr>
          <p:nvPr>
            <p:custDataLst>
              <p:tags r:id="rId181"/>
            </p:custDataLst>
          </p:nvPr>
        </p:nvSpPr>
        <p:spPr bwMode="auto">
          <a:xfrm>
            <a:off x="5883275" y="5819775"/>
            <a:ext cx="2286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Mobasa                </a:t>
            </a:r>
          </a:p>
        </p:txBody>
      </p:sp>
      <p:sp>
        <p:nvSpPr>
          <p:cNvPr id="16577" name="Rectangle 280"/>
          <p:cNvSpPr>
            <a:spLocks noChangeArrowheads="1"/>
          </p:cNvSpPr>
          <p:nvPr>
            <p:custDataLst>
              <p:tags r:id="rId182"/>
            </p:custDataLst>
          </p:nvPr>
        </p:nvSpPr>
        <p:spPr bwMode="auto">
          <a:xfrm>
            <a:off x="6202363" y="5270500"/>
            <a:ext cx="2286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Malindi                 </a:t>
            </a:r>
          </a:p>
        </p:txBody>
      </p:sp>
      <p:sp>
        <p:nvSpPr>
          <p:cNvPr id="16578" name="Rectangle 281"/>
          <p:cNvSpPr>
            <a:spLocks noChangeArrowheads="1"/>
          </p:cNvSpPr>
          <p:nvPr>
            <p:custDataLst>
              <p:tags r:id="rId183"/>
            </p:custDataLst>
          </p:nvPr>
        </p:nvSpPr>
        <p:spPr bwMode="auto">
          <a:xfrm>
            <a:off x="6034088" y="5595938"/>
            <a:ext cx="2286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mic Sans MS"/>
                <a:ea typeface="+mn-ea"/>
                <a:cs typeface="+mn-cs"/>
              </a:rPr>
              <a:t>Kilifi                  </a:t>
            </a:r>
          </a:p>
        </p:txBody>
      </p:sp>
      <p:sp>
        <p:nvSpPr>
          <p:cNvPr id="16579" name="Oval 111"/>
          <p:cNvSpPr>
            <a:spLocks noChangeArrowheads="1"/>
          </p:cNvSpPr>
          <p:nvPr>
            <p:custDataLst>
              <p:tags r:id="rId184"/>
            </p:custDataLst>
          </p:nvPr>
        </p:nvSpPr>
        <p:spPr bwMode="gray">
          <a:xfrm>
            <a:off x="6484938" y="4857750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80" name="Oval 273"/>
          <p:cNvSpPr>
            <a:spLocks noChangeArrowheads="1"/>
          </p:cNvSpPr>
          <p:nvPr>
            <p:custDataLst>
              <p:tags r:id="rId185"/>
            </p:custDataLst>
          </p:nvPr>
        </p:nvSpPr>
        <p:spPr bwMode="gray">
          <a:xfrm>
            <a:off x="6111875" y="524668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81" name="Oval 274"/>
          <p:cNvSpPr>
            <a:spLocks noChangeArrowheads="1"/>
          </p:cNvSpPr>
          <p:nvPr>
            <p:custDataLst>
              <p:tags r:id="rId186"/>
            </p:custDataLst>
          </p:nvPr>
        </p:nvSpPr>
        <p:spPr bwMode="gray">
          <a:xfrm>
            <a:off x="5940425" y="5570538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  <p:sp>
        <p:nvSpPr>
          <p:cNvPr id="16582" name="Oval 200"/>
          <p:cNvSpPr>
            <a:spLocks noChangeArrowheads="1"/>
          </p:cNvSpPr>
          <p:nvPr>
            <p:custDataLst>
              <p:tags r:id="rId187"/>
            </p:custDataLst>
          </p:nvPr>
        </p:nvSpPr>
        <p:spPr bwMode="gray">
          <a:xfrm>
            <a:off x="5827713" y="5776913"/>
            <a:ext cx="44450" cy="44450"/>
          </a:xfrm>
          <a:prstGeom prst="ellipse">
            <a:avLst/>
          </a:prstGeom>
          <a:solidFill>
            <a:srgbClr val="00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mic Sans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5501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entives that Changed the Countr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Subsidized broadband to all Universities (public and private through KENET)</a:t>
            </a:r>
          </a:p>
          <a:p>
            <a:r>
              <a:rPr lang="en-US" sz="2800" dirty="0"/>
              <a:t>Subsidized acquisition of laptops to University Students</a:t>
            </a:r>
          </a:p>
          <a:p>
            <a:r>
              <a:rPr lang="en-US" sz="2800" dirty="0"/>
              <a:t>Developed Rural Digital Centers</a:t>
            </a:r>
          </a:p>
          <a:p>
            <a:r>
              <a:rPr lang="en-US" sz="2800" dirty="0"/>
              <a:t>Subsidized operators to provide rural last-mile broadband infrastructure</a:t>
            </a:r>
          </a:p>
          <a:p>
            <a:r>
              <a:rPr lang="en-US" sz="2800" dirty="0"/>
              <a:t>Kenya Open Data Initiative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7314767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rly Outcom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2152650" y="1825625"/>
            <a:ext cx="7886700" cy="4351338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en-US" sz="2800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Several Innovation and incubator Hubs have come up;</a:t>
            </a:r>
          </a:p>
          <a:p>
            <a:r>
              <a:rPr lang="en-US" sz="2800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Several mobile applications commercialized;</a:t>
            </a:r>
          </a:p>
          <a:p>
            <a:r>
              <a:rPr lang="en-US" sz="2800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Digitalization of Public sector starts – Lands Ministry shows promise;</a:t>
            </a:r>
          </a:p>
          <a:p>
            <a:r>
              <a:rPr lang="en-US" sz="2800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Improved Agricultural productivity (mshamba, </a:t>
            </a:r>
            <a:r>
              <a:rPr lang="en-US" sz="2800" dirty="0" err="1">
                <a:latin typeface="Traditional Arabic" panose="02020603050405020304" pitchFamily="18" charset="-78"/>
                <a:cs typeface="Traditional Arabic" panose="02020603050405020304" pitchFamily="18" charset="-78"/>
              </a:rPr>
              <a:t>Icow</a:t>
            </a:r>
            <a:r>
              <a:rPr lang="en-US" sz="2800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en-US" sz="2800" dirty="0" err="1">
                <a:latin typeface="Traditional Arabic" panose="02020603050405020304" pitchFamily="18" charset="-78"/>
                <a:cs typeface="Traditional Arabic" panose="02020603050405020304" pitchFamily="18" charset="-78"/>
              </a:rPr>
              <a:t>etc</a:t>
            </a:r>
            <a:r>
              <a:rPr lang="en-US" sz="2800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);</a:t>
            </a:r>
          </a:p>
          <a:p>
            <a:r>
              <a:rPr lang="en-US" sz="2800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Global research institutions moving into Kenya</a:t>
            </a:r>
          </a:p>
          <a:p>
            <a:r>
              <a:rPr lang="en-US" sz="2800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Evidence of internal efficiencies and Governance – </a:t>
            </a:r>
            <a:r>
              <a:rPr lang="en-US" sz="2800" dirty="0" err="1">
                <a:latin typeface="Traditional Arabic" panose="02020603050405020304" pitchFamily="18" charset="-78"/>
                <a:cs typeface="Traditional Arabic" panose="02020603050405020304" pitchFamily="18" charset="-78"/>
              </a:rPr>
              <a:t>Huduma</a:t>
            </a:r>
            <a:r>
              <a:rPr lang="en-US" sz="2800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 Cente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2331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the interven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roadband use soared and prices tumbled</a:t>
            </a:r>
          </a:p>
          <a:p>
            <a:r>
              <a:rPr lang="en-US" dirty="0"/>
              <a:t>New Applications, e.g. Mobile money spread across the country</a:t>
            </a:r>
          </a:p>
          <a:p>
            <a:r>
              <a:rPr lang="en-US" dirty="0"/>
              <a:t>Online enterprises increased</a:t>
            </a:r>
          </a:p>
          <a:p>
            <a:r>
              <a:rPr lang="en-US" dirty="0"/>
              <a:t>Number of Kenyans in the Social Media soa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9162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83E36-7717-4AD6-A2B6-0F285207E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Transformation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3C49F2B-23F0-40F4-ABD6-7DDCE8A455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05594" y="2376958"/>
            <a:ext cx="5351228" cy="3752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698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65zlPSHEa5abPGw6.JF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zABKT_nEGW2MDV3hRIv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ZKNimmjkuMf5.Sj4R8k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l2.XXp_0CFfmX8_4Ns.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vns_R8g0m1DxdYzTVuP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cR9wUiLEmvByQlTKTWQ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BNQkBOs0ejZ16uiQgm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Fn4YkykUKkgYBwg5v1R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SHXcE5hEaUprUjynf9_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p43wZ3BEaJylofv899T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Rni2.9u0uDalZY7BUmh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cBNkWPk0uMyTZHLk8o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Kn4UFd0mt64CnuOIqX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XpmWKNp0KhKJVzt4Hxh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ZiBlwGw0SeTxbnYZqnO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2SI5z64kCtDaSpqVsAT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TjSbnWy0aHmJ5CrEnDO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rjFvdFzEK3WVJPJFKk4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7oU2ebR0mWJp07qrB_l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8Uh9WHvEmeiMW87ksk2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ZJKjMbhECSAU69ro3J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UDwO0WwkWjRSXu10R8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vrm4kXY0a9ZsSPtn8Z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86iI.BBUSXP97zshGK8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ZsNZqPnUqVp8NCmSQvA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A6dRbU5EC26RutbuTB6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kngli3BEWYecDlWyKX6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Oo5hXTw0q3t6ZkxeS1v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0mEth0NUaplvLw07MJJ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vgvqSyEmUw7aHGT_kH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OiCXfyE0SxaqS_isLpc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hcmz1oqUSILdb_VKZpS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A5usaCh0OPmtTh5RQ7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xkw1pHOUabUklaIudQ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mNk7_70WmAm_kwNgkV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d.FLY3F0a6.KAsFObq0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zKKZ5Z00.k0B6WE85sS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KhlWoulE.ZuZ6tBnnW.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1VBfbuH0KxY_jxOidvf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nmXkvy0e5SDSxgXngY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xxxiFX0yd1r4I9vyOX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bGV4BO0E6tOcCN2X63Y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oxc_cvwkm8Nb_U0Ckbh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7XzG8kHEu56xiPclk.Y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7MBU75DEuy_H.Ug2z_5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yxlV78kKMfkd75bezT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RsVq_JESkvnkcxZiA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gaZhi840Wdqpa0.ngyP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JbJ._3MUO.3Qcv2yPTO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w0TKcDU0iwitcP.EsZi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CmeGgBukiN1qIac2rm8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kX7H7RS06k6SP1kJdKs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QjgixnSkOaB_YqPTwpN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3teb3c0.F6fvFXZm1P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MwuLpL1kC1c_8MBasJ4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zrijXIXEWcV.vvgZ2_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xp1lQJnUOrd04s59kuv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u_7ESK2E26M1X29Y9Bv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ix8M5tFUyqigjSRdohF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3Nx0QWs06Ji0t.yRyHb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EbCrYSEUOCpiTl2lZN_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IigHLNsEir97KOExwut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04hOBINEGw732Bb5j3V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HNWiqRREKmBeIuE.Piw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aYcSSxtkm_pLkeuA_ut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p4qs9ij0Sa5ZRiAEPt1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SfW4tfZkyVGDgbmaQE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sDIRJRf0KDN7O2inXoY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i1teODB0KdiP88nCu5b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MvYJRCkO5lU31RS.yI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AcBk1UEUW4ZnRSflNum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nJVACJ02R35gkQb2vi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C_.gYtJECkUlZpixe6r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UuyKFQkS07utDooVbB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QvjePPsE6W25xdJRJIR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EzXj15iEmEabypm9h1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RNkTW9pUuRU5PQOGvgF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2Rh.SZnEaAEamrLjHR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3M7MGoJki3j.2scPb59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.hNtV5nUa8bzYEdp_YN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4cSCLckWXW7HSmKcbJ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2WYnmsbUK_FFcC2IMXB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kJ6wdxikqbuOfh9pjVN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0P3bT5tEO8I4Lnrw5uI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v0PQyTsUexNbarvf9H.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1TReIGESA_5i8_fmkC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BD9Ysy20OwLshOsKXGk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ljj7gwBkSu.P2v6hxB0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XwkQNIUyvDJnCx4eb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iMrG4kf0WFH5ZFIU.p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GrkCFCfUWzjXYTQ1h2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m8DGJeSUSi1TMmJFXrI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ZBjFvRd0qS5hxCOd8lL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jgliP5s0qleSV0vAIhu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NXkfvfKk23rX8p_RdoT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RCPLcbZkycKrmAnnFVQ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yzGBwLWkK7.Rxaq67X3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Bi1ALku0m5y7aUEzQwB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tqRJBl_EiEV4VQ0cJTG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mx7.TGykWj3ccGna4s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vCgfwEzUqVEzVmNITcK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Ay5xKiy0GsGlvrEgVB1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lIzDJDike86YRnCQEQw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0Kess83EupNOWBWPZfI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KgqLc7hUyQDzvrqz5x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wSVdxD0OqqkWHsGvCn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opfr6mESleUCJjAKe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OrOFkjDkqEY83TOuVNN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26EBevxU.3GT13wdCZ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pfcAbEbEeudHkDeUgD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81JBLtE2lG4h83bp9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r2wdN4ukyOp8IETTa4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S9wPEUkEOZt1iAi44O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JLhIOQI0KHrR.C2xtK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ss99vhUEq3UBODIOe8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R3w5O9pEahHzENKgD3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7mDXqZB0egjfBKeGl8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lETqw7mECQXuI4TgTA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hcgdJuXkGpUCkZyhLe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yUBUTRgkecEmWyAtzm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g8CWGY5ECN9c0zFggf.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JwY6o.20SqQH5J2_Kz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fyolxmhkWN6U6a8nYe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UICQfNUSsEr4fSpcP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TLGLJsfkWgkilWUh3f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uF1hWY7kGG5nm4rIgt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3q2GElcUG2PVOYGf78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_KoryqPke__HvbsupCS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0i7PVQPEKIwhsTZNUI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ZptEtyJ06Co2J_ITKp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suUgqoukO0qCSv0SOK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skTQfC_keAInwS6Zi3.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SNrKq55UKj_bxVUFfn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o8uRyQkU.W9Ovyg8nE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AjK7c4PkOjQuoboUQdJ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14FWEx2EG2CQn0xndY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UBen2x60.pijxvYL8Z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EoAnXeRE.2clHW7G3F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4Nue7AkybvbHuGi_Q7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f1mGW56UyVA_xX1tk6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H3K3CgUyTJafOEFuqm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BpA707WEKmdvpIO5rk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ZVs6X5a0yP3Iwi2qpOm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Yk__bOTUOT8pll6y4h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hd9HmS2E6iXa79j0aIn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7JLaXlO0GcB_Dd2HUq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BOfwNKTUmjuIB5MwN6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He7RrM1UG2SLH7dTRrh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F9N9BaIEOpD7KbrtCv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.nm0nbqESIBJLLaWmJM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JpxhS.7k.atKdLNU7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aVVhcV6ECyDJF5oZrF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jp4GjhUezeGdpqNYY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TnCehnWUG9gmHj4w_H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8GwzEE50O_VWdGuDPv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fesSAyOEmJn4BqVMpTr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sGCEr2.0Ck5JxDAamUq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Ib87E7UenYbZ756WA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ZL7Zyz5EOVdwuhjedB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uRgzi4dEm0xOBySD0Ni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rdTXiU.kFaCy6KJm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pS6KLvyU6cTsEsI31r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DVBltM6UGFk7JEnD4X5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nhcHklpk2uhr8hgQeN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flEY3hbUOleUTek4wbY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nZ1Zz030OXYg0zeQa8f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4MBFjBEiNnWxLRZ6m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sWCbOj9kirRecNfq1A3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lomWFUfkSZ2NFhtaKbw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LtPwV2MUmmd6cVu2aK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Imsrs6eE.QcgRTddQt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S1PqImD0KR696SvTBLU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.K0_JnGU6Oy2WU9ED9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dF6uCvbkGR2mkovfQ_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YCaXBf5ky35gisQ0xU1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qHgib.ikCpstpm812Bo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HGiFQ87UWeyXqcbr.r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ApLFDsrkeNyalPi6S.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x3ZOcx0UqTrf.B.VHJW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XNSZv3pke0BUTr_yCf4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GA3j4CW06jDWWy92q0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1_7e5LVkSEa4QoJLjuK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9oDjI4Ua2i9zoF4.8P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KCvtKSz06Cs0W5jEQI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t7f3swtEiv8Hv0Zd5Z2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Yf2uWrU02vy10IAzRTj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msVHijhUSgBn1SIzuh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6iSFaBU0uGuwFBgw.J8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K016pRvUW6_18T2z0F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JNhzb8P0WwFmj9V7yE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eGeXTe1UaQrN4BnxNv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Pw1.4RoUiZbxKzbCfUK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IptQrpb0ahY4qKb5uOx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3EOLZQDUa8.ZhNUY5S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sq0.d6ek6eewQVfHrGJ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rayons">
  <a:themeElements>
    <a:clrScheme name="Crayons 1">
      <a:dk1>
        <a:srgbClr val="000000"/>
      </a:dk1>
      <a:lt1>
        <a:srgbClr val="FFFFFF"/>
      </a:lt1>
      <a:dk2>
        <a:srgbClr val="FF0000"/>
      </a:dk2>
      <a:lt2>
        <a:srgbClr val="FFB800"/>
      </a:lt2>
      <a:accent1>
        <a:srgbClr val="FFEF66"/>
      </a:accent1>
      <a:accent2>
        <a:srgbClr val="000000"/>
      </a:accent2>
      <a:accent3>
        <a:srgbClr val="FFFFFF"/>
      </a:accent3>
      <a:accent4>
        <a:srgbClr val="000000"/>
      </a:accent4>
      <a:accent5>
        <a:srgbClr val="FFF6B8"/>
      </a:accent5>
      <a:accent6>
        <a:srgbClr val="000000"/>
      </a:accent6>
      <a:hlink>
        <a:srgbClr val="00B200"/>
      </a:hlink>
      <a:folHlink>
        <a:srgbClr val="703DFF"/>
      </a:folHlink>
    </a:clrScheme>
    <a:fontScheme name="Crayons">
      <a:majorFont>
        <a:latin typeface="Comic Sans MS"/>
        <a:ea typeface=""/>
        <a:cs typeface=""/>
      </a:majorFont>
      <a:minorFont>
        <a:latin typeface="Comic Sans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mic Sans MS" panose="030F0702030302020204" pitchFamily="66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mic Sans MS" panose="030F0702030302020204" pitchFamily="66" charset="0"/>
          </a:defRPr>
        </a:defPPr>
      </a:lstStyle>
    </a:lnDef>
  </a:objectDefaults>
  <a:extraClrSchemeLst>
    <a:extraClrScheme>
      <a:clrScheme name="Crayons 1">
        <a:dk1>
          <a:srgbClr val="000000"/>
        </a:dk1>
        <a:lt1>
          <a:srgbClr val="FFFFFF"/>
        </a:lt1>
        <a:dk2>
          <a:srgbClr val="FF0000"/>
        </a:dk2>
        <a:lt2>
          <a:srgbClr val="FFB800"/>
        </a:lt2>
        <a:accent1>
          <a:srgbClr val="FFEF66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F6B8"/>
        </a:accent5>
        <a:accent6>
          <a:srgbClr val="000000"/>
        </a:accent6>
        <a:hlink>
          <a:srgbClr val="00B200"/>
        </a:hlink>
        <a:folHlink>
          <a:srgbClr val="703D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ayons 2">
        <a:dk1>
          <a:srgbClr val="000000"/>
        </a:dk1>
        <a:lt1>
          <a:srgbClr val="FFFFFF"/>
        </a:lt1>
        <a:dk2>
          <a:srgbClr val="000000"/>
        </a:dk2>
        <a:lt2>
          <a:srgbClr val="99CCFF"/>
        </a:lt2>
        <a:accent1>
          <a:srgbClr val="CCCCFF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00005C"/>
        </a:accent6>
        <a:hlink>
          <a:srgbClr val="00B200"/>
        </a:hlink>
        <a:folHlink>
          <a:srgbClr val="CCFF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ayons 3">
        <a:dk1>
          <a:srgbClr val="000000"/>
        </a:dk1>
        <a:lt1>
          <a:srgbClr val="FFFFFF"/>
        </a:lt1>
        <a:dk2>
          <a:srgbClr val="000000"/>
        </a:dk2>
        <a:lt2>
          <a:srgbClr val="3399FF"/>
        </a:lt2>
        <a:accent1>
          <a:srgbClr val="CCECFF"/>
        </a:accent1>
        <a:accent2>
          <a:srgbClr val="008080"/>
        </a:accent2>
        <a:accent3>
          <a:srgbClr val="FFFFFF"/>
        </a:accent3>
        <a:accent4>
          <a:srgbClr val="000000"/>
        </a:accent4>
        <a:accent5>
          <a:srgbClr val="E2F4FF"/>
        </a:accent5>
        <a:accent6>
          <a:srgbClr val="007373"/>
        </a:accent6>
        <a:hlink>
          <a:srgbClr val="009999"/>
        </a:hlink>
        <a:folHlink>
          <a:srgbClr val="33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ayons 4">
        <a:dk1>
          <a:srgbClr val="808000"/>
        </a:dk1>
        <a:lt1>
          <a:srgbClr val="FFFFFF"/>
        </a:lt1>
        <a:dk2>
          <a:srgbClr val="336600"/>
        </a:dk2>
        <a:lt2>
          <a:srgbClr val="FFFFFF"/>
        </a:lt2>
        <a:accent1>
          <a:srgbClr val="99CC00"/>
        </a:accent1>
        <a:accent2>
          <a:srgbClr val="003300"/>
        </a:accent2>
        <a:accent3>
          <a:srgbClr val="ADB8AA"/>
        </a:accent3>
        <a:accent4>
          <a:srgbClr val="DADADA"/>
        </a:accent4>
        <a:accent5>
          <a:srgbClr val="CAE2AA"/>
        </a:accent5>
        <a:accent6>
          <a:srgbClr val="002D00"/>
        </a:accent6>
        <a:hlink>
          <a:srgbClr val="CCCC00"/>
        </a:hlink>
        <a:folHlink>
          <a:srgbClr val="CCFF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ayons 5">
        <a:dk1>
          <a:srgbClr val="808080"/>
        </a:dk1>
        <a:lt1>
          <a:srgbClr val="FFFFFF"/>
        </a:lt1>
        <a:dk2>
          <a:srgbClr val="003366"/>
        </a:dk2>
        <a:lt2>
          <a:srgbClr val="CCECFF"/>
        </a:lt2>
        <a:accent1>
          <a:srgbClr val="33CCCC"/>
        </a:accent1>
        <a:accent2>
          <a:srgbClr val="006699"/>
        </a:accent2>
        <a:accent3>
          <a:srgbClr val="AAADB8"/>
        </a:accent3>
        <a:accent4>
          <a:srgbClr val="DADADA"/>
        </a:accent4>
        <a:accent5>
          <a:srgbClr val="ADE2E2"/>
        </a:accent5>
        <a:accent6>
          <a:srgbClr val="005C8A"/>
        </a:accent6>
        <a:hlink>
          <a:srgbClr val="00FFFF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ayons 6">
        <a:dk1>
          <a:srgbClr val="6666FF"/>
        </a:dk1>
        <a:lt1>
          <a:srgbClr val="FFFFFF"/>
        </a:lt1>
        <a:dk2>
          <a:srgbClr val="000066"/>
        </a:dk2>
        <a:lt2>
          <a:srgbClr val="FFFFFF"/>
        </a:lt2>
        <a:accent1>
          <a:srgbClr val="33CCFF"/>
        </a:accent1>
        <a:accent2>
          <a:srgbClr val="0000FF"/>
        </a:accent2>
        <a:accent3>
          <a:srgbClr val="AAAAB8"/>
        </a:accent3>
        <a:accent4>
          <a:srgbClr val="DADADA"/>
        </a:accent4>
        <a:accent5>
          <a:srgbClr val="ADE2FF"/>
        </a:accent5>
        <a:accent6>
          <a:srgbClr val="0000E7"/>
        </a:accent6>
        <a:hlink>
          <a:srgbClr val="FFFF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ayons 7">
        <a:dk1>
          <a:srgbClr val="000000"/>
        </a:dk1>
        <a:lt1>
          <a:srgbClr val="FFFFFF"/>
        </a:lt1>
        <a:dk2>
          <a:srgbClr val="800080"/>
        </a:dk2>
        <a:lt2>
          <a:srgbClr val="FFFFFF"/>
        </a:lt2>
        <a:accent1>
          <a:srgbClr val="CC66FF"/>
        </a:accent1>
        <a:accent2>
          <a:srgbClr val="990099"/>
        </a:accent2>
        <a:accent3>
          <a:srgbClr val="C0AAC0"/>
        </a:accent3>
        <a:accent4>
          <a:srgbClr val="DADADA"/>
        </a:accent4>
        <a:accent5>
          <a:srgbClr val="E2B8FF"/>
        </a:accent5>
        <a:accent6>
          <a:srgbClr val="8A008A"/>
        </a:accent6>
        <a:hlink>
          <a:srgbClr val="FF9900"/>
        </a:hlink>
        <a:folHlink>
          <a:srgbClr val="FF33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ayons 8">
        <a:dk1>
          <a:srgbClr val="FF3300"/>
        </a:dk1>
        <a:lt1>
          <a:srgbClr val="FFFFFF"/>
        </a:lt1>
        <a:dk2>
          <a:srgbClr val="800000"/>
        </a:dk2>
        <a:lt2>
          <a:srgbClr val="FFFFCC"/>
        </a:lt2>
        <a:accent1>
          <a:srgbClr val="FF7C80"/>
        </a:accent1>
        <a:accent2>
          <a:srgbClr val="990000"/>
        </a:accent2>
        <a:accent3>
          <a:srgbClr val="C0AAAA"/>
        </a:accent3>
        <a:accent4>
          <a:srgbClr val="DADADA"/>
        </a:accent4>
        <a:accent5>
          <a:srgbClr val="FFBFC0"/>
        </a:accent5>
        <a:accent6>
          <a:srgbClr val="8A0000"/>
        </a:accent6>
        <a:hlink>
          <a:srgbClr val="FF66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</TotalTime>
  <Words>314</Words>
  <Application>Microsoft Office PowerPoint</Application>
  <PresentationFormat>Widescreen</PresentationFormat>
  <Paragraphs>120</Paragraphs>
  <Slides>1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Comic Sans MS</vt:lpstr>
      <vt:lpstr>Traditional Arabic</vt:lpstr>
      <vt:lpstr>Office Theme</vt:lpstr>
      <vt:lpstr>Crayons</vt:lpstr>
      <vt:lpstr>What can Ethiopia learn from Kenya ICT Landscape</vt:lpstr>
      <vt:lpstr>The Beginning: ICT Policy Objectives</vt:lpstr>
      <vt:lpstr>What inspired us</vt:lpstr>
      <vt:lpstr>The start of digital transformation</vt:lpstr>
      <vt:lpstr>PowerPoint Presentation</vt:lpstr>
      <vt:lpstr>Incentives that Changed the Country</vt:lpstr>
      <vt:lpstr>Early Outcomes</vt:lpstr>
      <vt:lpstr>Impact of the interventions</vt:lpstr>
      <vt:lpstr>Industrial Transformations</vt:lpstr>
      <vt:lpstr>Fourth Industrial Revolution Technologies</vt:lpstr>
      <vt:lpstr>Innovation Adoption Wave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can Ethiopia learn from Kenya</dc:title>
  <dc:creator>Bitange Ndemo</dc:creator>
  <cp:lastModifiedBy>Bitange Ndemo</cp:lastModifiedBy>
  <cp:revision>4</cp:revision>
  <dcterms:created xsi:type="dcterms:W3CDTF">2020-02-21T05:58:45Z</dcterms:created>
  <dcterms:modified xsi:type="dcterms:W3CDTF">2020-03-03T06:05:52Z</dcterms:modified>
</cp:coreProperties>
</file>